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7"/>
  </p:notesMasterIdLst>
  <p:sldIdLst>
    <p:sldId id="256" r:id="rId3"/>
    <p:sldId id="274" r:id="rId4"/>
    <p:sldId id="267" r:id="rId5"/>
    <p:sldId id="273" r:id="rId6"/>
    <p:sldId id="277" r:id="rId7"/>
    <p:sldId id="261" r:id="rId8"/>
    <p:sldId id="283" r:id="rId9"/>
    <p:sldId id="275" r:id="rId10"/>
    <p:sldId id="265" r:id="rId11"/>
    <p:sldId id="279" r:id="rId12"/>
    <p:sldId id="280" r:id="rId13"/>
    <p:sldId id="281" r:id="rId14"/>
    <p:sldId id="282" r:id="rId15"/>
    <p:sldId id="276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F7F4"/>
    <a:srgbClr val="F6443B"/>
    <a:srgbClr val="125680"/>
    <a:srgbClr val="0C152C"/>
    <a:srgbClr val="070C1E"/>
    <a:srgbClr val="1221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16" autoAdjust="0"/>
    <p:restoredTop sz="94660"/>
  </p:normalViewPr>
  <p:slideViewPr>
    <p:cSldViewPr snapToGrid="0">
      <p:cViewPr varScale="1">
        <p:scale>
          <a:sx n="91" d="100"/>
          <a:sy n="91" d="100"/>
        </p:scale>
        <p:origin x="39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1E6909-83F1-4324-83D2-287D668823ED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29122-58DF-4E14-BE8A-E1ABE85C67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08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610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895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27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52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1602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89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21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497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545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03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681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88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643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923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832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041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155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221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23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019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06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774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AB65F-E1CD-4DF5-869D-309059F8B1B3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9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266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139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emf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3109" y="-68606"/>
            <a:ext cx="12188891" cy="564604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9" name="Oval 57"/>
          <p:cNvSpPr>
            <a:spLocks noChangeArrowheads="1"/>
          </p:cNvSpPr>
          <p:nvPr/>
        </p:nvSpPr>
        <p:spPr bwMode="auto">
          <a:xfrm>
            <a:off x="9286722" y="78698"/>
            <a:ext cx="2558678" cy="2560023"/>
          </a:xfrm>
          <a:prstGeom prst="ellipse">
            <a:avLst/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0">
                <a:srgbClr val="B0F7F4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-200025" y="4682838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851965" y="4156843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4276988" y="5063546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10227057" y="4513336"/>
            <a:ext cx="2280210" cy="1132706"/>
          </a:xfrm>
          <a:custGeom>
            <a:avLst/>
            <a:gdLst>
              <a:gd name="T0" fmla="*/ 0 w 1695"/>
              <a:gd name="T1" fmla="*/ 842 h 842"/>
              <a:gd name="T2" fmla="*/ 1695 w 1695"/>
              <a:gd name="T3" fmla="*/ 842 h 842"/>
              <a:gd name="T4" fmla="*/ 853 w 1695"/>
              <a:gd name="T5" fmla="*/ 0 h 842"/>
              <a:gd name="T6" fmla="*/ 0 w 1695"/>
              <a:gd name="T7" fmla="*/ 84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95" h="842">
                <a:moveTo>
                  <a:pt x="0" y="842"/>
                </a:moveTo>
                <a:lnTo>
                  <a:pt x="1695" y="842"/>
                </a:lnTo>
                <a:lnTo>
                  <a:pt x="853" y="0"/>
                </a:lnTo>
                <a:lnTo>
                  <a:pt x="0" y="84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8277781" y="3921423"/>
            <a:ext cx="3472107" cy="1724619"/>
          </a:xfrm>
          <a:custGeom>
            <a:avLst/>
            <a:gdLst>
              <a:gd name="T0" fmla="*/ 0 w 2581"/>
              <a:gd name="T1" fmla="*/ 1282 h 1282"/>
              <a:gd name="T2" fmla="*/ 2581 w 2581"/>
              <a:gd name="T3" fmla="*/ 1282 h 1282"/>
              <a:gd name="T4" fmla="*/ 1298 w 2581"/>
              <a:gd name="T5" fmla="*/ 0 h 1282"/>
              <a:gd name="T6" fmla="*/ 0 w 2581"/>
              <a:gd name="T7" fmla="*/ 1282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81" h="1282">
                <a:moveTo>
                  <a:pt x="0" y="1282"/>
                </a:moveTo>
                <a:lnTo>
                  <a:pt x="2581" y="1282"/>
                </a:lnTo>
                <a:lnTo>
                  <a:pt x="1298" y="0"/>
                </a:lnTo>
                <a:lnTo>
                  <a:pt x="0" y="128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3847851" y="5312418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2194531" y="5391789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2006195" y="5480575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>
            <a:off x="225076" y="5442908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>
            <a:off x="3176568" y="5140226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11113581" y="4793149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>
            <a:off x="8413652" y="4828126"/>
            <a:ext cx="248872" cy="391470"/>
          </a:xfrm>
          <a:custGeom>
            <a:avLst/>
            <a:gdLst>
              <a:gd name="T0" fmla="*/ 22 w 185"/>
              <a:gd name="T1" fmla="*/ 0 h 291"/>
              <a:gd name="T2" fmla="*/ 185 w 185"/>
              <a:gd name="T3" fmla="*/ 0 h 291"/>
              <a:gd name="T4" fmla="*/ 171 w 185"/>
              <a:gd name="T5" fmla="*/ 291 h 291"/>
              <a:gd name="T6" fmla="*/ 0 w 185"/>
              <a:gd name="T7" fmla="*/ 291 h 291"/>
              <a:gd name="T8" fmla="*/ 22 w 185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" h="291">
                <a:moveTo>
                  <a:pt x="22" y="0"/>
                </a:moveTo>
                <a:lnTo>
                  <a:pt x="185" y="0"/>
                </a:lnTo>
                <a:lnTo>
                  <a:pt x="171" y="291"/>
                </a:lnTo>
                <a:lnTo>
                  <a:pt x="0" y="291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25"/>
          <p:cNvSpPr>
            <a:spLocks/>
          </p:cNvSpPr>
          <p:nvPr/>
        </p:nvSpPr>
        <p:spPr bwMode="auto">
          <a:xfrm>
            <a:off x="8643690" y="4828126"/>
            <a:ext cx="574424" cy="391470"/>
          </a:xfrm>
          <a:custGeom>
            <a:avLst/>
            <a:gdLst>
              <a:gd name="T0" fmla="*/ 427 w 427"/>
              <a:gd name="T1" fmla="*/ 291 h 291"/>
              <a:gd name="T2" fmla="*/ 0 w 427"/>
              <a:gd name="T3" fmla="*/ 291 h 291"/>
              <a:gd name="T4" fmla="*/ 14 w 427"/>
              <a:gd name="T5" fmla="*/ 0 h 291"/>
              <a:gd name="T6" fmla="*/ 411 w 427"/>
              <a:gd name="T7" fmla="*/ 0 h 291"/>
              <a:gd name="T8" fmla="*/ 427 w 427"/>
              <a:gd name="T9" fmla="*/ 291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7" h="291">
                <a:moveTo>
                  <a:pt x="427" y="291"/>
                </a:moveTo>
                <a:lnTo>
                  <a:pt x="0" y="291"/>
                </a:lnTo>
                <a:lnTo>
                  <a:pt x="14" y="0"/>
                </a:lnTo>
                <a:lnTo>
                  <a:pt x="411" y="0"/>
                </a:lnTo>
                <a:lnTo>
                  <a:pt x="427" y="291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5990845" y="3718290"/>
            <a:ext cx="3879719" cy="1927752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8942337" y="4717815"/>
            <a:ext cx="1869906" cy="928227"/>
          </a:xfrm>
          <a:custGeom>
            <a:avLst/>
            <a:gdLst>
              <a:gd name="T0" fmla="*/ 0 w 1390"/>
              <a:gd name="T1" fmla="*/ 690 h 690"/>
              <a:gd name="T2" fmla="*/ 1390 w 1390"/>
              <a:gd name="T3" fmla="*/ 690 h 690"/>
              <a:gd name="T4" fmla="*/ 700 w 1390"/>
              <a:gd name="T5" fmla="*/ 0 h 690"/>
              <a:gd name="T6" fmla="*/ 0 w 1390"/>
              <a:gd name="T7" fmla="*/ 69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90" h="690">
                <a:moveTo>
                  <a:pt x="0" y="690"/>
                </a:moveTo>
                <a:lnTo>
                  <a:pt x="1390" y="690"/>
                </a:lnTo>
                <a:lnTo>
                  <a:pt x="700" y="0"/>
                </a:lnTo>
                <a:lnTo>
                  <a:pt x="0" y="690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Rectangle 48"/>
          <p:cNvSpPr>
            <a:spLocks noChangeArrowheads="1"/>
          </p:cNvSpPr>
          <p:nvPr/>
        </p:nvSpPr>
        <p:spPr bwMode="auto">
          <a:xfrm>
            <a:off x="3110" y="5647558"/>
            <a:ext cx="12188890" cy="1210442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324625" y="5646042"/>
            <a:ext cx="1662737" cy="827333"/>
          </a:xfrm>
          <a:custGeom>
            <a:avLst/>
            <a:gdLst>
              <a:gd name="T0" fmla="*/ 0 w 1236"/>
              <a:gd name="T1" fmla="*/ 0 h 615"/>
              <a:gd name="T2" fmla="*/ 1236 w 1236"/>
              <a:gd name="T3" fmla="*/ 0 h 615"/>
              <a:gd name="T4" fmla="*/ 621 w 1236"/>
              <a:gd name="T5" fmla="*/ 615 h 615"/>
              <a:gd name="T6" fmla="*/ 0 w 1236"/>
              <a:gd name="T7" fmla="*/ 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36" h="615">
                <a:moveTo>
                  <a:pt x="0" y="0"/>
                </a:moveTo>
                <a:lnTo>
                  <a:pt x="1236" y="0"/>
                </a:lnTo>
                <a:lnTo>
                  <a:pt x="621" y="61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21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0"/>
          <p:cNvSpPr>
            <a:spLocks/>
          </p:cNvSpPr>
          <p:nvPr/>
        </p:nvSpPr>
        <p:spPr bwMode="auto">
          <a:xfrm>
            <a:off x="1224601" y="5646042"/>
            <a:ext cx="2565404" cy="1275303"/>
          </a:xfrm>
          <a:custGeom>
            <a:avLst/>
            <a:gdLst>
              <a:gd name="T0" fmla="*/ 0 w 1907"/>
              <a:gd name="T1" fmla="*/ 0 h 948"/>
              <a:gd name="T2" fmla="*/ 1907 w 1907"/>
              <a:gd name="T3" fmla="*/ 0 h 948"/>
              <a:gd name="T4" fmla="*/ 962 w 1907"/>
              <a:gd name="T5" fmla="*/ 948 h 948"/>
              <a:gd name="T6" fmla="*/ 0 w 1907"/>
              <a:gd name="T7" fmla="*/ 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7" h="948">
                <a:moveTo>
                  <a:pt x="0" y="0"/>
                </a:moveTo>
                <a:lnTo>
                  <a:pt x="1907" y="0"/>
                </a:lnTo>
                <a:lnTo>
                  <a:pt x="962" y="9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4162641" y="5646042"/>
            <a:ext cx="1004907" cy="49909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0138270" y="5646042"/>
            <a:ext cx="1951967" cy="969930"/>
          </a:xfrm>
          <a:custGeom>
            <a:avLst/>
            <a:gdLst>
              <a:gd name="T0" fmla="*/ 0 w 1451"/>
              <a:gd name="T1" fmla="*/ 0 h 721"/>
              <a:gd name="T2" fmla="*/ 1451 w 1451"/>
              <a:gd name="T3" fmla="*/ 0 h 721"/>
              <a:gd name="T4" fmla="*/ 730 w 1451"/>
              <a:gd name="T5" fmla="*/ 721 h 721"/>
              <a:gd name="T6" fmla="*/ 0 w 1451"/>
              <a:gd name="T7" fmla="*/ 0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51" h="721">
                <a:moveTo>
                  <a:pt x="0" y="0"/>
                </a:moveTo>
                <a:lnTo>
                  <a:pt x="1451" y="0"/>
                </a:lnTo>
                <a:lnTo>
                  <a:pt x="730" y="72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7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8413652" y="5646043"/>
            <a:ext cx="1030466" cy="1478658"/>
          </a:xfrm>
          <a:custGeom>
            <a:avLst/>
            <a:gdLst>
              <a:gd name="T0" fmla="*/ 324 w 324"/>
              <a:gd name="T1" fmla="*/ 0 h 956"/>
              <a:gd name="T2" fmla="*/ 253 w 324"/>
              <a:gd name="T3" fmla="*/ 0 h 956"/>
              <a:gd name="T4" fmla="*/ 72 w 324"/>
              <a:gd name="T5" fmla="*/ 0 h 956"/>
              <a:gd name="T6" fmla="*/ 0 w 324"/>
              <a:gd name="T7" fmla="*/ 0 h 956"/>
              <a:gd name="T8" fmla="*/ 9 w 324"/>
              <a:gd name="T9" fmla="*/ 123 h 956"/>
              <a:gd name="T10" fmla="*/ 22 w 324"/>
              <a:gd name="T11" fmla="*/ 299 h 956"/>
              <a:gd name="T12" fmla="*/ 22 w 324"/>
              <a:gd name="T13" fmla="*/ 299 h 956"/>
              <a:gd name="T14" fmla="*/ 31 w 324"/>
              <a:gd name="T15" fmla="*/ 429 h 956"/>
              <a:gd name="T16" fmla="*/ 44 w 324"/>
              <a:gd name="T17" fmla="*/ 604 h 956"/>
              <a:gd name="T18" fmla="*/ 44 w 324"/>
              <a:gd name="T19" fmla="*/ 604 h 956"/>
              <a:gd name="T20" fmla="*/ 50 w 324"/>
              <a:gd name="T21" fmla="*/ 690 h 956"/>
              <a:gd name="T22" fmla="*/ 35 w 324"/>
              <a:gd name="T23" fmla="*/ 755 h 956"/>
              <a:gd name="T24" fmla="*/ 35 w 324"/>
              <a:gd name="T25" fmla="*/ 774 h 956"/>
              <a:gd name="T26" fmla="*/ 63 w 324"/>
              <a:gd name="T27" fmla="*/ 774 h 956"/>
              <a:gd name="T28" fmla="*/ 63 w 324"/>
              <a:gd name="T29" fmla="*/ 787 h 956"/>
              <a:gd name="T30" fmla="*/ 102 w 324"/>
              <a:gd name="T31" fmla="*/ 787 h 956"/>
              <a:gd name="T32" fmla="*/ 102 w 324"/>
              <a:gd name="T33" fmla="*/ 833 h 956"/>
              <a:gd name="T34" fmla="*/ 77 w 324"/>
              <a:gd name="T35" fmla="*/ 833 h 956"/>
              <a:gd name="T36" fmla="*/ 77 w 324"/>
              <a:gd name="T37" fmla="*/ 871 h 956"/>
              <a:gd name="T38" fmla="*/ 146 w 324"/>
              <a:gd name="T39" fmla="*/ 912 h 956"/>
              <a:gd name="T40" fmla="*/ 146 w 324"/>
              <a:gd name="T41" fmla="*/ 945 h 956"/>
              <a:gd name="T42" fmla="*/ 153 w 324"/>
              <a:gd name="T43" fmla="*/ 956 h 956"/>
              <a:gd name="T44" fmla="*/ 162 w 324"/>
              <a:gd name="T45" fmla="*/ 956 h 956"/>
              <a:gd name="T46" fmla="*/ 171 w 324"/>
              <a:gd name="T47" fmla="*/ 956 h 956"/>
              <a:gd name="T48" fmla="*/ 179 w 324"/>
              <a:gd name="T49" fmla="*/ 945 h 956"/>
              <a:gd name="T50" fmla="*/ 179 w 324"/>
              <a:gd name="T51" fmla="*/ 912 h 956"/>
              <a:gd name="T52" fmla="*/ 248 w 324"/>
              <a:gd name="T53" fmla="*/ 871 h 956"/>
              <a:gd name="T54" fmla="*/ 248 w 324"/>
              <a:gd name="T55" fmla="*/ 833 h 956"/>
              <a:gd name="T56" fmla="*/ 222 w 324"/>
              <a:gd name="T57" fmla="*/ 833 h 956"/>
              <a:gd name="T58" fmla="*/ 222 w 324"/>
              <a:gd name="T59" fmla="*/ 787 h 956"/>
              <a:gd name="T60" fmla="*/ 261 w 324"/>
              <a:gd name="T61" fmla="*/ 787 h 956"/>
              <a:gd name="T62" fmla="*/ 261 w 324"/>
              <a:gd name="T63" fmla="*/ 774 h 956"/>
              <a:gd name="T64" fmla="*/ 289 w 324"/>
              <a:gd name="T65" fmla="*/ 774 h 956"/>
              <a:gd name="T66" fmla="*/ 289 w 324"/>
              <a:gd name="T67" fmla="*/ 755 h 956"/>
              <a:gd name="T68" fmla="*/ 275 w 324"/>
              <a:gd name="T69" fmla="*/ 690 h 956"/>
              <a:gd name="T70" fmla="*/ 281 w 324"/>
              <a:gd name="T71" fmla="*/ 604 h 956"/>
              <a:gd name="T72" fmla="*/ 281 w 324"/>
              <a:gd name="T73" fmla="*/ 604 h 956"/>
              <a:gd name="T74" fmla="*/ 293 w 324"/>
              <a:gd name="T75" fmla="*/ 429 h 956"/>
              <a:gd name="T76" fmla="*/ 303 w 324"/>
              <a:gd name="T77" fmla="*/ 299 h 956"/>
              <a:gd name="T78" fmla="*/ 303 w 324"/>
              <a:gd name="T79" fmla="*/ 299 h 956"/>
              <a:gd name="T80" fmla="*/ 315 w 324"/>
              <a:gd name="T81" fmla="*/ 123 h 956"/>
              <a:gd name="T82" fmla="*/ 324 w 324"/>
              <a:gd name="T83" fmla="*/ 0 h 9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4" h="956">
                <a:moveTo>
                  <a:pt x="324" y="0"/>
                </a:moveTo>
                <a:cubicBezTo>
                  <a:pt x="253" y="0"/>
                  <a:pt x="253" y="0"/>
                  <a:pt x="253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0" y="0"/>
                  <a:pt x="0" y="0"/>
                  <a:pt x="0" y="0"/>
                </a:cubicBezTo>
                <a:cubicBezTo>
                  <a:pt x="9" y="123"/>
                  <a:pt x="9" y="123"/>
                  <a:pt x="9" y="123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31" y="429"/>
                  <a:pt x="31" y="429"/>
                  <a:pt x="31" y="429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50" y="690"/>
                  <a:pt x="50" y="690"/>
                  <a:pt x="50" y="690"/>
                </a:cubicBezTo>
                <a:cubicBezTo>
                  <a:pt x="35" y="755"/>
                  <a:pt x="35" y="755"/>
                  <a:pt x="35" y="755"/>
                </a:cubicBezTo>
                <a:cubicBezTo>
                  <a:pt x="35" y="774"/>
                  <a:pt x="35" y="774"/>
                  <a:pt x="35" y="774"/>
                </a:cubicBezTo>
                <a:cubicBezTo>
                  <a:pt x="63" y="774"/>
                  <a:pt x="63" y="774"/>
                  <a:pt x="63" y="774"/>
                </a:cubicBezTo>
                <a:cubicBezTo>
                  <a:pt x="63" y="787"/>
                  <a:pt x="63" y="787"/>
                  <a:pt x="63" y="787"/>
                </a:cubicBezTo>
                <a:cubicBezTo>
                  <a:pt x="102" y="787"/>
                  <a:pt x="102" y="787"/>
                  <a:pt x="102" y="787"/>
                </a:cubicBezTo>
                <a:cubicBezTo>
                  <a:pt x="102" y="833"/>
                  <a:pt x="102" y="833"/>
                  <a:pt x="102" y="833"/>
                </a:cubicBezTo>
                <a:cubicBezTo>
                  <a:pt x="77" y="833"/>
                  <a:pt x="77" y="833"/>
                  <a:pt x="77" y="833"/>
                </a:cubicBezTo>
                <a:cubicBezTo>
                  <a:pt x="77" y="871"/>
                  <a:pt x="77" y="871"/>
                  <a:pt x="77" y="871"/>
                </a:cubicBezTo>
                <a:cubicBezTo>
                  <a:pt x="146" y="912"/>
                  <a:pt x="146" y="912"/>
                  <a:pt x="146" y="912"/>
                </a:cubicBezTo>
                <a:cubicBezTo>
                  <a:pt x="146" y="912"/>
                  <a:pt x="146" y="937"/>
                  <a:pt x="146" y="945"/>
                </a:cubicBezTo>
                <a:cubicBezTo>
                  <a:pt x="146" y="953"/>
                  <a:pt x="149" y="956"/>
                  <a:pt x="153" y="956"/>
                </a:cubicBezTo>
                <a:cubicBezTo>
                  <a:pt x="157" y="956"/>
                  <a:pt x="162" y="956"/>
                  <a:pt x="162" y="956"/>
                </a:cubicBezTo>
                <a:cubicBezTo>
                  <a:pt x="162" y="956"/>
                  <a:pt x="167" y="956"/>
                  <a:pt x="171" y="956"/>
                </a:cubicBezTo>
                <a:cubicBezTo>
                  <a:pt x="175" y="956"/>
                  <a:pt x="179" y="953"/>
                  <a:pt x="179" y="945"/>
                </a:cubicBezTo>
                <a:cubicBezTo>
                  <a:pt x="179" y="937"/>
                  <a:pt x="179" y="912"/>
                  <a:pt x="179" y="912"/>
                </a:cubicBezTo>
                <a:cubicBezTo>
                  <a:pt x="248" y="871"/>
                  <a:pt x="248" y="871"/>
                  <a:pt x="248" y="871"/>
                </a:cubicBezTo>
                <a:cubicBezTo>
                  <a:pt x="248" y="833"/>
                  <a:pt x="248" y="833"/>
                  <a:pt x="248" y="833"/>
                </a:cubicBezTo>
                <a:cubicBezTo>
                  <a:pt x="222" y="833"/>
                  <a:pt x="222" y="833"/>
                  <a:pt x="222" y="833"/>
                </a:cubicBezTo>
                <a:cubicBezTo>
                  <a:pt x="222" y="787"/>
                  <a:pt x="222" y="787"/>
                  <a:pt x="222" y="787"/>
                </a:cubicBezTo>
                <a:cubicBezTo>
                  <a:pt x="261" y="787"/>
                  <a:pt x="261" y="787"/>
                  <a:pt x="261" y="787"/>
                </a:cubicBezTo>
                <a:cubicBezTo>
                  <a:pt x="261" y="774"/>
                  <a:pt x="261" y="774"/>
                  <a:pt x="261" y="774"/>
                </a:cubicBezTo>
                <a:cubicBezTo>
                  <a:pt x="289" y="774"/>
                  <a:pt x="289" y="774"/>
                  <a:pt x="289" y="774"/>
                </a:cubicBezTo>
                <a:cubicBezTo>
                  <a:pt x="289" y="755"/>
                  <a:pt x="289" y="755"/>
                  <a:pt x="289" y="755"/>
                </a:cubicBezTo>
                <a:cubicBezTo>
                  <a:pt x="275" y="690"/>
                  <a:pt x="275" y="690"/>
                  <a:pt x="275" y="690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15" y="123"/>
                  <a:pt x="315" y="123"/>
                  <a:pt x="315" y="123"/>
                </a:cubicBezTo>
                <a:lnTo>
                  <a:pt x="324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43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5450052" y="5646042"/>
            <a:ext cx="5177892" cy="1778429"/>
          </a:xfrm>
          <a:custGeom>
            <a:avLst/>
            <a:gdLst>
              <a:gd name="T0" fmla="*/ 3213 w 3849"/>
              <a:gd name="T1" fmla="*/ 636 h 1322"/>
              <a:gd name="T2" fmla="*/ 2889 w 3849"/>
              <a:gd name="T3" fmla="*/ 317 h 1322"/>
              <a:gd name="T4" fmla="*/ 1884 w 3849"/>
              <a:gd name="T5" fmla="*/ 1322 h 1322"/>
              <a:gd name="T6" fmla="*/ 863 w 3849"/>
              <a:gd name="T7" fmla="*/ 312 h 1322"/>
              <a:gd name="T8" fmla="*/ 594 w 3849"/>
              <a:gd name="T9" fmla="*/ 584 h 1322"/>
              <a:gd name="T10" fmla="*/ 0 w 3849"/>
              <a:gd name="T11" fmla="*/ 0 h 1322"/>
              <a:gd name="T12" fmla="*/ 549 w 3849"/>
              <a:gd name="T13" fmla="*/ 0 h 1322"/>
              <a:gd name="T14" fmla="*/ 1175 w 3849"/>
              <a:gd name="T15" fmla="*/ 0 h 1322"/>
              <a:gd name="T16" fmla="*/ 2570 w 3849"/>
              <a:gd name="T17" fmla="*/ 0 h 1322"/>
              <a:gd name="T18" fmla="*/ 3206 w 3849"/>
              <a:gd name="T19" fmla="*/ 0 h 1322"/>
              <a:gd name="T20" fmla="*/ 3849 w 3849"/>
              <a:gd name="T21" fmla="*/ 0 h 1322"/>
              <a:gd name="T22" fmla="*/ 3213 w 3849"/>
              <a:gd name="T23" fmla="*/ 636 h 1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49" h="1322">
                <a:moveTo>
                  <a:pt x="3213" y="636"/>
                </a:moveTo>
                <a:lnTo>
                  <a:pt x="2889" y="317"/>
                </a:lnTo>
                <a:lnTo>
                  <a:pt x="1884" y="1322"/>
                </a:lnTo>
                <a:lnTo>
                  <a:pt x="863" y="312"/>
                </a:lnTo>
                <a:lnTo>
                  <a:pt x="594" y="584"/>
                </a:lnTo>
                <a:lnTo>
                  <a:pt x="0" y="0"/>
                </a:lnTo>
                <a:lnTo>
                  <a:pt x="549" y="0"/>
                </a:lnTo>
                <a:lnTo>
                  <a:pt x="1175" y="0"/>
                </a:lnTo>
                <a:lnTo>
                  <a:pt x="2570" y="0"/>
                </a:lnTo>
                <a:lnTo>
                  <a:pt x="3206" y="0"/>
                </a:lnTo>
                <a:lnTo>
                  <a:pt x="3849" y="0"/>
                </a:lnTo>
                <a:lnTo>
                  <a:pt x="3213" y="636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50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11295191" y="5646042"/>
            <a:ext cx="1536283" cy="764106"/>
          </a:xfrm>
          <a:custGeom>
            <a:avLst/>
            <a:gdLst>
              <a:gd name="T0" fmla="*/ 0 w 1142"/>
              <a:gd name="T1" fmla="*/ 0 h 568"/>
              <a:gd name="T2" fmla="*/ 1142 w 1142"/>
              <a:gd name="T3" fmla="*/ 0 h 568"/>
              <a:gd name="T4" fmla="*/ 575 w 1142"/>
              <a:gd name="T5" fmla="*/ 568 h 568"/>
              <a:gd name="T6" fmla="*/ 0 w 1142"/>
              <a:gd name="T7" fmla="*/ 0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42" h="568">
                <a:moveTo>
                  <a:pt x="0" y="0"/>
                </a:moveTo>
                <a:lnTo>
                  <a:pt x="1142" y="0"/>
                </a:lnTo>
                <a:lnTo>
                  <a:pt x="575" y="56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28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3265355" y="5646042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1" name="Group 90"/>
          <p:cNvGrpSpPr/>
          <p:nvPr/>
        </p:nvGrpSpPr>
        <p:grpSpPr>
          <a:xfrm>
            <a:off x="814298" y="3025483"/>
            <a:ext cx="11103746" cy="1914300"/>
            <a:chOff x="814298" y="3025483"/>
            <a:chExt cx="11103746" cy="1914300"/>
          </a:xfrm>
        </p:grpSpPr>
        <p:sp>
          <p:nvSpPr>
            <p:cNvPr id="60" name="Oval 58"/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9"/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71"/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72"/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79"/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/>
          <p:cNvGrpSpPr>
            <a:grpSpLocks noChangeAspect="1"/>
          </p:cNvGrpSpPr>
          <p:nvPr/>
        </p:nvGrpSpPr>
        <p:grpSpPr bwMode="auto">
          <a:xfrm>
            <a:off x="-586705" y="-37811"/>
            <a:ext cx="439738" cy="2871788"/>
            <a:chOff x="-1745" y="-199"/>
            <a:chExt cx="277" cy="1809"/>
          </a:xfrm>
        </p:grpSpPr>
        <p:sp>
          <p:nvSpPr>
            <p:cNvPr id="85" name="Oval 83"/>
            <p:cNvSpPr>
              <a:spLocks noChangeArrowheads="1"/>
            </p:cNvSpPr>
            <p:nvPr/>
          </p:nvSpPr>
          <p:spPr bwMode="auto">
            <a:xfrm>
              <a:off x="-1745" y="-199"/>
              <a:ext cx="277" cy="268"/>
            </a:xfrm>
            <a:prstGeom prst="ellipse">
              <a:avLst/>
            </a:prstGeom>
            <a:solidFill>
              <a:srgbClr val="070C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84"/>
            <p:cNvSpPr>
              <a:spLocks noChangeArrowheads="1"/>
            </p:cNvSpPr>
            <p:nvPr/>
          </p:nvSpPr>
          <p:spPr bwMode="auto">
            <a:xfrm>
              <a:off x="-1745" y="109"/>
              <a:ext cx="277" cy="268"/>
            </a:xfrm>
            <a:prstGeom prst="ellipse">
              <a:avLst/>
            </a:prstGeom>
            <a:solidFill>
              <a:srgbClr val="122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85"/>
            <p:cNvSpPr>
              <a:spLocks noChangeArrowheads="1"/>
            </p:cNvSpPr>
            <p:nvPr/>
          </p:nvSpPr>
          <p:spPr bwMode="auto">
            <a:xfrm>
              <a:off x="-1745" y="417"/>
              <a:ext cx="277" cy="268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86"/>
            <p:cNvSpPr>
              <a:spLocks noChangeArrowheads="1"/>
            </p:cNvSpPr>
            <p:nvPr/>
          </p:nvSpPr>
          <p:spPr bwMode="auto">
            <a:xfrm>
              <a:off x="-1745" y="725"/>
              <a:ext cx="277" cy="268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87"/>
            <p:cNvSpPr>
              <a:spLocks noChangeArrowheads="1"/>
            </p:cNvSpPr>
            <p:nvPr/>
          </p:nvSpPr>
          <p:spPr bwMode="auto">
            <a:xfrm>
              <a:off x="-1745" y="1034"/>
              <a:ext cx="277" cy="268"/>
            </a:xfrm>
            <a:prstGeom prst="ellipse">
              <a:avLst/>
            </a:prstGeom>
            <a:solidFill>
              <a:srgbClr val="F644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88"/>
            <p:cNvSpPr>
              <a:spLocks noChangeArrowheads="1"/>
            </p:cNvSpPr>
            <p:nvPr/>
          </p:nvSpPr>
          <p:spPr bwMode="auto">
            <a:xfrm>
              <a:off x="-1745" y="1342"/>
              <a:ext cx="277" cy="268"/>
            </a:xfrm>
            <a:prstGeom prst="ellipse">
              <a:avLst/>
            </a:prstGeom>
            <a:solidFill>
              <a:srgbClr val="193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7"/>
          <p:cNvSpPr>
            <a:spLocks/>
          </p:cNvSpPr>
          <p:nvPr/>
        </p:nvSpPr>
        <p:spPr bwMode="auto">
          <a:xfrm>
            <a:off x="5193108" y="4793149"/>
            <a:ext cx="1716547" cy="852893"/>
          </a:xfrm>
          <a:custGeom>
            <a:avLst/>
            <a:gdLst>
              <a:gd name="T0" fmla="*/ 0 w 1276"/>
              <a:gd name="T1" fmla="*/ 634 h 634"/>
              <a:gd name="T2" fmla="*/ 1276 w 1276"/>
              <a:gd name="T3" fmla="*/ 634 h 634"/>
              <a:gd name="T4" fmla="*/ 640 w 1276"/>
              <a:gd name="T5" fmla="*/ 0 h 634"/>
              <a:gd name="T6" fmla="*/ 0 w 1276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6" h="634">
                <a:moveTo>
                  <a:pt x="0" y="634"/>
                </a:moveTo>
                <a:lnTo>
                  <a:pt x="1276" y="634"/>
                </a:lnTo>
                <a:lnTo>
                  <a:pt x="640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TextBox 92"/>
          <p:cNvSpPr txBox="1"/>
          <p:nvPr/>
        </p:nvSpPr>
        <p:spPr>
          <a:xfrm>
            <a:off x="2868417" y="2351285"/>
            <a:ext cx="7168886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4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Reading_Novel_Application</a:t>
            </a:r>
            <a:endParaRPr lang="en-US" sz="44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6" name="Freeform 14"/>
          <p:cNvSpPr>
            <a:spLocks/>
          </p:cNvSpPr>
          <p:nvPr/>
        </p:nvSpPr>
        <p:spPr bwMode="auto">
          <a:xfrm flipV="1">
            <a:off x="2194532" y="5646041"/>
            <a:ext cx="451444" cy="224534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15"/>
          <p:cNvSpPr>
            <a:spLocks/>
          </p:cNvSpPr>
          <p:nvPr/>
        </p:nvSpPr>
        <p:spPr bwMode="auto">
          <a:xfrm flipV="1">
            <a:off x="2057315" y="5646040"/>
            <a:ext cx="282504" cy="140113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5"/>
          <p:cNvSpPr>
            <a:spLocks/>
          </p:cNvSpPr>
          <p:nvPr/>
        </p:nvSpPr>
        <p:spPr bwMode="auto">
          <a:xfrm flipV="1">
            <a:off x="282921" y="5646039"/>
            <a:ext cx="345585" cy="171399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TextBox 98"/>
          <p:cNvSpPr txBox="1"/>
          <p:nvPr/>
        </p:nvSpPr>
        <p:spPr>
          <a:xfrm>
            <a:off x="2912899" y="3423018"/>
            <a:ext cx="3369962" cy="9541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2800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rya Fajar Siswanto</a:t>
            </a:r>
          </a:p>
          <a:p>
            <a:r>
              <a:rPr lang="en-GB" sz="2800" b="0" i="0" dirty="0">
                <a:solidFill>
                  <a:schemeClr val="bg1"/>
                </a:solidFill>
                <a:effectLst/>
                <a:latin typeface="-apple-system"/>
              </a:rPr>
              <a:t>1_005FLB_44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837920" y="2897477"/>
            <a:ext cx="305373" cy="0"/>
          </a:xfrm>
          <a:prstGeom prst="line">
            <a:avLst/>
          </a:prstGeom>
          <a:ln w="19050">
            <a:solidFill>
              <a:srgbClr val="B0F7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8033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3115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C21CCCC-1A7B-7B1D-6516-37B4180DD4A1}"/>
              </a:ext>
            </a:extLst>
          </p:cNvPr>
          <p:cNvSpPr>
            <a:spLocks/>
          </p:cNvSpPr>
          <p:nvPr/>
        </p:nvSpPr>
        <p:spPr bwMode="auto">
          <a:xfrm flipH="1">
            <a:off x="555940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AABA08F-AD85-6FBF-2B7A-BC6CA58BAB5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76193" y="1567899"/>
            <a:ext cx="2228693" cy="3738149"/>
          </a:xfrm>
          <a:prstGeom prst="rect">
            <a:avLst/>
          </a:prstGeom>
          <a:gradFill flip="none" rotWithShape="1">
            <a:gsLst>
              <a:gs pos="23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Oval 7">
            <a:extLst>
              <a:ext uri="{FF2B5EF4-FFF2-40B4-BE49-F238E27FC236}">
                <a16:creationId xmlns:a16="http://schemas.microsoft.com/office/drawing/2014/main" id="{2AA222C0-0CE2-DB4B-F4E2-DF9AF5E3DFA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668281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5174624-DDDB-DFBE-85F9-F30D864DC8EE}"/>
              </a:ext>
            </a:extLst>
          </p:cNvPr>
          <p:cNvSpPr>
            <a:spLocks/>
          </p:cNvSpPr>
          <p:nvPr/>
        </p:nvSpPr>
        <p:spPr bwMode="auto">
          <a:xfrm flipH="1">
            <a:off x="4684068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Oval 7">
            <a:extLst>
              <a:ext uri="{FF2B5EF4-FFF2-40B4-BE49-F238E27FC236}">
                <a16:creationId xmlns:a16="http://schemas.microsoft.com/office/drawing/2014/main" id="{626180A3-296F-5197-BA0D-D890018B38A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815577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0DE8AAC-189F-B5FA-3A08-8177F1B7549C}"/>
              </a:ext>
            </a:extLst>
          </p:cNvPr>
          <p:cNvSpPr>
            <a:spLocks/>
          </p:cNvSpPr>
          <p:nvPr/>
        </p:nvSpPr>
        <p:spPr bwMode="auto">
          <a:xfrm flipH="1">
            <a:off x="8650504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7">
            <a:extLst>
              <a:ext uri="{FF2B5EF4-FFF2-40B4-BE49-F238E27FC236}">
                <a16:creationId xmlns:a16="http://schemas.microsoft.com/office/drawing/2014/main" id="{B4E0E2DB-3E8D-EAF1-2AEC-E951A733DE5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762846" y="5386666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180B28F-0C89-056E-2B1A-A101429B6D7F}"/>
              </a:ext>
            </a:extLst>
          </p:cNvPr>
          <p:cNvSpPr txBox="1"/>
          <p:nvPr/>
        </p:nvSpPr>
        <p:spPr>
          <a:xfrm>
            <a:off x="409872" y="6103947"/>
            <a:ext cx="2732799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dd To Favorit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1A1233-3364-B7D0-B337-FA688FAEC8F1}"/>
              </a:ext>
            </a:extLst>
          </p:cNvPr>
          <p:cNvSpPr txBox="1"/>
          <p:nvPr/>
        </p:nvSpPr>
        <p:spPr>
          <a:xfrm>
            <a:off x="5157883" y="6046975"/>
            <a:ext cx="1521570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 err="1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inopsis</a:t>
            </a:r>
            <a:endParaRPr lang="en-US" sz="2800" b="1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6296E4-41A8-F909-A61C-85F7CF30AE77}"/>
              </a:ext>
            </a:extLst>
          </p:cNvPr>
          <p:cNvSpPr txBox="1"/>
          <p:nvPr/>
        </p:nvSpPr>
        <p:spPr>
          <a:xfrm>
            <a:off x="8088714" y="6052339"/>
            <a:ext cx="3592778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fferent Genre View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DFC36C1-3964-ACFC-64FE-C28B8C4C08CE}"/>
              </a:ext>
            </a:extLst>
          </p:cNvPr>
          <p:cNvSpPr txBox="1"/>
          <p:nvPr/>
        </p:nvSpPr>
        <p:spPr>
          <a:xfrm>
            <a:off x="555940" y="195471"/>
            <a:ext cx="4945585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Feature in DetailView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77A4CB-76CB-78C9-3108-5995CEE8607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4788" t="16430" r="19924" b="12768"/>
          <a:stretch/>
        </p:blipFill>
        <p:spPr>
          <a:xfrm>
            <a:off x="640914" y="1531515"/>
            <a:ext cx="2299247" cy="385515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8E81200-A945-6ED3-CF31-9DF7ACCA50B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219" t="14915" r="20549" b="12769"/>
          <a:stretch/>
        </p:blipFill>
        <p:spPr>
          <a:xfrm>
            <a:off x="4778800" y="1401785"/>
            <a:ext cx="2279736" cy="38659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9FBBDEE-425D-221F-56F1-E3DBCAF951D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4785" t="14803" r="19924" b="13107"/>
          <a:stretch/>
        </p:blipFill>
        <p:spPr>
          <a:xfrm>
            <a:off x="8729859" y="1332274"/>
            <a:ext cx="2310490" cy="3935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970746"/>
      </p:ext>
    </p:extLst>
  </p:cSld>
  <p:clrMapOvr>
    <a:masterClrMapping/>
  </p:clrMapOvr>
  <p:transition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-1"/>
            <a:ext cx="12188891" cy="5643661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 flipH="1">
            <a:off x="550419" y="3396773"/>
            <a:ext cx="11367625" cy="2054313"/>
            <a:chOff x="550419" y="3396773"/>
            <a:chExt cx="11367625" cy="2054313"/>
          </a:xfrm>
        </p:grpSpPr>
        <p:sp>
          <p:nvSpPr>
            <p:cNvPr id="23" name="Oval 58"/>
            <p:cNvSpPr>
              <a:spLocks noChangeArrowheads="1"/>
            </p:cNvSpPr>
            <p:nvPr/>
          </p:nvSpPr>
          <p:spPr bwMode="auto">
            <a:xfrm>
              <a:off x="3392376" y="5184522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59"/>
            <p:cNvSpPr>
              <a:spLocks noChangeArrowheads="1"/>
            </p:cNvSpPr>
            <p:nvPr/>
          </p:nvSpPr>
          <p:spPr bwMode="auto">
            <a:xfrm>
              <a:off x="5251528" y="527537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4"/>
            <p:cNvSpPr>
              <a:spLocks noChangeArrowheads="1"/>
            </p:cNvSpPr>
            <p:nvPr/>
          </p:nvSpPr>
          <p:spPr bwMode="auto">
            <a:xfrm>
              <a:off x="4745126" y="3741159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6"/>
            <p:cNvSpPr>
              <a:spLocks noChangeArrowheads="1"/>
            </p:cNvSpPr>
            <p:nvPr/>
          </p:nvSpPr>
          <p:spPr bwMode="auto">
            <a:xfrm>
              <a:off x="550419" y="4656884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7"/>
            <p:cNvSpPr>
              <a:spLocks noChangeArrowheads="1"/>
            </p:cNvSpPr>
            <p:nvPr/>
          </p:nvSpPr>
          <p:spPr bwMode="auto">
            <a:xfrm>
              <a:off x="1206347" y="502484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1"/>
            <p:cNvSpPr>
              <a:spLocks noChangeArrowheads="1"/>
            </p:cNvSpPr>
            <p:nvPr/>
          </p:nvSpPr>
          <p:spPr bwMode="auto">
            <a:xfrm>
              <a:off x="4525570" y="506696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2"/>
            <p:cNvSpPr>
              <a:spLocks noChangeArrowheads="1"/>
            </p:cNvSpPr>
            <p:nvPr/>
          </p:nvSpPr>
          <p:spPr bwMode="auto">
            <a:xfrm>
              <a:off x="6475176" y="5044751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3"/>
            <p:cNvSpPr>
              <a:spLocks noChangeArrowheads="1"/>
            </p:cNvSpPr>
            <p:nvPr/>
          </p:nvSpPr>
          <p:spPr bwMode="auto">
            <a:xfrm>
              <a:off x="2630625" y="5069082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4"/>
            <p:cNvSpPr>
              <a:spLocks noChangeArrowheads="1"/>
            </p:cNvSpPr>
            <p:nvPr/>
          </p:nvSpPr>
          <p:spPr bwMode="auto">
            <a:xfrm>
              <a:off x="2936214" y="4258356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5"/>
            <p:cNvSpPr>
              <a:spLocks noChangeArrowheads="1"/>
            </p:cNvSpPr>
            <p:nvPr/>
          </p:nvSpPr>
          <p:spPr bwMode="auto">
            <a:xfrm>
              <a:off x="1948349" y="5378442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9"/>
            <p:cNvSpPr>
              <a:spLocks noChangeArrowheads="1"/>
            </p:cNvSpPr>
            <p:nvPr/>
          </p:nvSpPr>
          <p:spPr bwMode="auto">
            <a:xfrm>
              <a:off x="7717986" y="4134900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Rectangle 48"/>
          <p:cNvSpPr>
            <a:spLocks noChangeArrowheads="1"/>
          </p:cNvSpPr>
          <p:nvPr/>
        </p:nvSpPr>
        <p:spPr bwMode="auto">
          <a:xfrm>
            <a:off x="3110" y="5643660"/>
            <a:ext cx="12188890" cy="1214340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0" name="Group 109"/>
          <p:cNvGrpSpPr/>
          <p:nvPr/>
        </p:nvGrpSpPr>
        <p:grpSpPr>
          <a:xfrm>
            <a:off x="-1328128" y="4154461"/>
            <a:ext cx="7405903" cy="2764502"/>
            <a:chOff x="-3347622" y="4154461"/>
            <a:chExt cx="7405903" cy="2764502"/>
          </a:xfrm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-1530125" y="4869259"/>
              <a:ext cx="1559618" cy="774401"/>
            </a:xfrm>
            <a:custGeom>
              <a:avLst/>
              <a:gdLst>
                <a:gd name="T0" fmla="*/ 0 w 1442"/>
                <a:gd name="T1" fmla="*/ 716 h 716"/>
                <a:gd name="T2" fmla="*/ 1442 w 1442"/>
                <a:gd name="T3" fmla="*/ 716 h 716"/>
                <a:gd name="T4" fmla="*/ 725 w 1442"/>
                <a:gd name="T5" fmla="*/ 0 h 716"/>
                <a:gd name="T6" fmla="*/ 0 w 1442"/>
                <a:gd name="T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2" h="716">
                  <a:moveTo>
                    <a:pt x="0" y="716"/>
                  </a:moveTo>
                  <a:lnTo>
                    <a:pt x="1442" y="716"/>
                  </a:lnTo>
                  <a:lnTo>
                    <a:pt x="725" y="0"/>
                  </a:lnTo>
                  <a:lnTo>
                    <a:pt x="0" y="716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-3347622" y="4154461"/>
              <a:ext cx="2995886" cy="1489199"/>
            </a:xfrm>
            <a:custGeom>
              <a:avLst/>
              <a:gdLst>
                <a:gd name="T0" fmla="*/ 0 w 2227"/>
                <a:gd name="T1" fmla="*/ 1107 h 1107"/>
                <a:gd name="T2" fmla="*/ 2227 w 2227"/>
                <a:gd name="T3" fmla="*/ 1107 h 1107"/>
                <a:gd name="T4" fmla="*/ 1121 w 2227"/>
                <a:gd name="T5" fmla="*/ 0 h 1107"/>
                <a:gd name="T6" fmla="*/ 0 w 2227"/>
                <a:gd name="T7" fmla="*/ 1107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27" h="1107">
                  <a:moveTo>
                    <a:pt x="0" y="1107"/>
                  </a:moveTo>
                  <a:lnTo>
                    <a:pt x="2227" y="1107"/>
                  </a:lnTo>
                  <a:lnTo>
                    <a:pt x="1121" y="0"/>
                  </a:lnTo>
                  <a:lnTo>
                    <a:pt x="0" y="1107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2346882" y="5061164"/>
              <a:ext cx="1173064" cy="582496"/>
            </a:xfrm>
            <a:custGeom>
              <a:avLst/>
              <a:gdLst>
                <a:gd name="T0" fmla="*/ 0 w 872"/>
                <a:gd name="T1" fmla="*/ 433 h 433"/>
                <a:gd name="T2" fmla="*/ 872 w 872"/>
                <a:gd name="T3" fmla="*/ 433 h 433"/>
                <a:gd name="T4" fmla="*/ 440 w 872"/>
                <a:gd name="T5" fmla="*/ 0 h 433"/>
                <a:gd name="T6" fmla="*/ 0 w 872"/>
                <a:gd name="T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2" h="433">
                  <a:moveTo>
                    <a:pt x="0" y="433"/>
                  </a:moveTo>
                  <a:lnTo>
                    <a:pt x="872" y="433"/>
                  </a:lnTo>
                  <a:lnTo>
                    <a:pt x="440" y="0"/>
                  </a:lnTo>
                  <a:lnTo>
                    <a:pt x="0" y="433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2194531" y="5389407"/>
              <a:ext cx="511197" cy="254253"/>
            </a:xfrm>
            <a:custGeom>
              <a:avLst/>
              <a:gdLst>
                <a:gd name="T0" fmla="*/ 0 w 380"/>
                <a:gd name="T1" fmla="*/ 189 h 189"/>
                <a:gd name="T2" fmla="*/ 380 w 380"/>
                <a:gd name="T3" fmla="*/ 189 h 189"/>
                <a:gd name="T4" fmla="*/ 191 w 380"/>
                <a:gd name="T5" fmla="*/ 0 h 189"/>
                <a:gd name="T6" fmla="*/ 0 w 380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0" h="189">
                  <a:moveTo>
                    <a:pt x="0" y="189"/>
                  </a:moveTo>
                  <a:lnTo>
                    <a:pt x="380" y="189"/>
                  </a:lnTo>
                  <a:lnTo>
                    <a:pt x="191" y="0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3243493" y="5240024"/>
              <a:ext cx="814788" cy="403636"/>
            </a:xfrm>
            <a:custGeom>
              <a:avLst/>
              <a:gdLst>
                <a:gd name="T0" fmla="*/ 0 w 759"/>
                <a:gd name="T1" fmla="*/ 376 h 376"/>
                <a:gd name="T2" fmla="*/ 759 w 759"/>
                <a:gd name="T3" fmla="*/ 376 h 376"/>
                <a:gd name="T4" fmla="*/ 381 w 759"/>
                <a:gd name="T5" fmla="*/ 0 h 376"/>
                <a:gd name="T6" fmla="*/ 0 w 759"/>
                <a:gd name="T7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9" h="376">
                  <a:moveTo>
                    <a:pt x="0" y="376"/>
                  </a:moveTo>
                  <a:lnTo>
                    <a:pt x="759" y="376"/>
                  </a:lnTo>
                  <a:lnTo>
                    <a:pt x="381" y="0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9"/>
            <p:cNvSpPr>
              <a:spLocks/>
            </p:cNvSpPr>
            <p:nvPr/>
          </p:nvSpPr>
          <p:spPr bwMode="auto">
            <a:xfrm>
              <a:off x="-1530125" y="5643661"/>
              <a:ext cx="1672437" cy="832160"/>
            </a:xfrm>
            <a:custGeom>
              <a:avLst/>
              <a:gdLst>
                <a:gd name="T0" fmla="*/ 0 w 1236"/>
                <a:gd name="T1" fmla="*/ 0 h 615"/>
                <a:gd name="T2" fmla="*/ 1236 w 1236"/>
                <a:gd name="T3" fmla="*/ 0 h 615"/>
                <a:gd name="T4" fmla="*/ 621 w 1236"/>
                <a:gd name="T5" fmla="*/ 615 h 615"/>
                <a:gd name="T6" fmla="*/ 0 w 1236"/>
                <a:gd name="T7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6" h="615">
                  <a:moveTo>
                    <a:pt x="0" y="0"/>
                  </a:moveTo>
                  <a:lnTo>
                    <a:pt x="1236" y="0"/>
                  </a:lnTo>
                  <a:lnTo>
                    <a:pt x="621" y="6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10000"/>
                  </a:srgbClr>
                </a:gs>
                <a:gs pos="21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-3233814" y="5643660"/>
              <a:ext cx="2565404" cy="1275303"/>
            </a:xfrm>
            <a:custGeom>
              <a:avLst/>
              <a:gdLst>
                <a:gd name="T0" fmla="*/ 0 w 1907"/>
                <a:gd name="T1" fmla="*/ 0 h 948"/>
                <a:gd name="T2" fmla="*/ 1907 w 1907"/>
                <a:gd name="T3" fmla="*/ 0 h 948"/>
                <a:gd name="T4" fmla="*/ 962 w 1907"/>
                <a:gd name="T5" fmla="*/ 948 h 948"/>
                <a:gd name="T6" fmla="*/ 0 w 1907"/>
                <a:gd name="T7" fmla="*/ 0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7" h="948">
                  <a:moveTo>
                    <a:pt x="0" y="0"/>
                  </a:moveTo>
                  <a:lnTo>
                    <a:pt x="1907" y="0"/>
                  </a:lnTo>
                  <a:lnTo>
                    <a:pt x="962" y="948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1"/>
            <p:cNvSpPr>
              <a:spLocks/>
            </p:cNvSpPr>
            <p:nvPr/>
          </p:nvSpPr>
          <p:spPr bwMode="auto">
            <a:xfrm>
              <a:off x="2360669" y="5643660"/>
              <a:ext cx="1004907" cy="499090"/>
            </a:xfrm>
            <a:custGeom>
              <a:avLst/>
              <a:gdLst>
                <a:gd name="T0" fmla="*/ 0 w 747"/>
                <a:gd name="T1" fmla="*/ 0 h 371"/>
                <a:gd name="T2" fmla="*/ 747 w 747"/>
                <a:gd name="T3" fmla="*/ 0 h 371"/>
                <a:gd name="T4" fmla="*/ 376 w 747"/>
                <a:gd name="T5" fmla="*/ 371 h 371"/>
                <a:gd name="T6" fmla="*/ 0 w 747"/>
                <a:gd name="T7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7" h="371">
                  <a:moveTo>
                    <a:pt x="0" y="0"/>
                  </a:moveTo>
                  <a:lnTo>
                    <a:pt x="747" y="0"/>
                  </a:lnTo>
                  <a:lnTo>
                    <a:pt x="376" y="371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6"/>
            <p:cNvSpPr>
              <a:spLocks/>
            </p:cNvSpPr>
            <p:nvPr/>
          </p:nvSpPr>
          <p:spPr bwMode="auto">
            <a:xfrm>
              <a:off x="3346538" y="5643661"/>
              <a:ext cx="588915" cy="292570"/>
            </a:xfrm>
            <a:custGeom>
              <a:avLst/>
              <a:gdLst>
                <a:gd name="T0" fmla="*/ 0 w 624"/>
                <a:gd name="T1" fmla="*/ 0 h 310"/>
                <a:gd name="T2" fmla="*/ 624 w 624"/>
                <a:gd name="T3" fmla="*/ 0 h 310"/>
                <a:gd name="T4" fmla="*/ 315 w 624"/>
                <a:gd name="T5" fmla="*/ 310 h 310"/>
                <a:gd name="T6" fmla="*/ 0 w 624"/>
                <a:gd name="T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4" h="310">
                  <a:moveTo>
                    <a:pt x="0" y="0"/>
                  </a:moveTo>
                  <a:lnTo>
                    <a:pt x="624" y="0"/>
                  </a:lnTo>
                  <a:lnTo>
                    <a:pt x="315" y="31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006195" y="5478193"/>
              <a:ext cx="333624" cy="165467"/>
            </a:xfrm>
            <a:custGeom>
              <a:avLst/>
              <a:gdLst>
                <a:gd name="T0" fmla="*/ 0 w 248"/>
                <a:gd name="T1" fmla="*/ 123 h 123"/>
                <a:gd name="T2" fmla="*/ 248 w 248"/>
                <a:gd name="T3" fmla="*/ 123 h 123"/>
                <a:gd name="T4" fmla="*/ 125 w 248"/>
                <a:gd name="T5" fmla="*/ 0 h 123"/>
                <a:gd name="T6" fmla="*/ 0 w 248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8" h="123">
                  <a:moveTo>
                    <a:pt x="0" y="123"/>
                  </a:moveTo>
                  <a:lnTo>
                    <a:pt x="248" y="123"/>
                  </a:lnTo>
                  <a:lnTo>
                    <a:pt x="125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4"/>
          <p:cNvGrpSpPr>
            <a:grpSpLocks noChangeAspect="1"/>
          </p:cNvGrpSpPr>
          <p:nvPr/>
        </p:nvGrpSpPr>
        <p:grpSpPr bwMode="auto">
          <a:xfrm flipH="1">
            <a:off x="151147" y="597601"/>
            <a:ext cx="2921862" cy="5521180"/>
            <a:chOff x="3532" y="1579"/>
            <a:chExt cx="616" cy="1164"/>
          </a:xfrm>
        </p:grpSpPr>
        <p:sp>
          <p:nvSpPr>
            <p:cNvPr id="93" name="Freeform 5"/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6"/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7"/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"/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0" name="Freeform 12"/>
          <p:cNvSpPr>
            <a:spLocks/>
          </p:cNvSpPr>
          <p:nvPr/>
        </p:nvSpPr>
        <p:spPr bwMode="auto">
          <a:xfrm>
            <a:off x="1414066" y="6235492"/>
            <a:ext cx="2921862" cy="1009901"/>
          </a:xfrm>
          <a:custGeom>
            <a:avLst/>
            <a:gdLst>
              <a:gd name="T0" fmla="*/ 258 w 258"/>
              <a:gd name="T1" fmla="*/ 84 h 84"/>
              <a:gd name="T2" fmla="*/ 0 w 258"/>
              <a:gd name="T3" fmla="*/ 84 h 84"/>
              <a:gd name="T4" fmla="*/ 0 w 258"/>
              <a:gd name="T5" fmla="*/ 21 h 84"/>
              <a:gd name="T6" fmla="*/ 20 w 258"/>
              <a:gd name="T7" fmla="*/ 0 h 84"/>
              <a:gd name="T8" fmla="*/ 237 w 258"/>
              <a:gd name="T9" fmla="*/ 0 h 84"/>
              <a:gd name="T10" fmla="*/ 258 w 258"/>
              <a:gd name="T11" fmla="*/ 21 h 84"/>
              <a:gd name="T12" fmla="*/ 258 w 258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8" h="84">
                <a:moveTo>
                  <a:pt x="258" y="84"/>
                </a:moveTo>
                <a:cubicBezTo>
                  <a:pt x="0" y="84"/>
                  <a:pt x="0" y="84"/>
                  <a:pt x="0" y="84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0" y="0"/>
                </a:cubicBezTo>
                <a:cubicBezTo>
                  <a:pt x="237" y="0"/>
                  <a:pt x="237" y="0"/>
                  <a:pt x="237" y="0"/>
                </a:cubicBezTo>
                <a:cubicBezTo>
                  <a:pt x="249" y="0"/>
                  <a:pt x="258" y="9"/>
                  <a:pt x="258" y="21"/>
                </a:cubicBezTo>
                <a:lnTo>
                  <a:pt x="258" y="84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1" name="Group 110"/>
          <p:cNvGrpSpPr/>
          <p:nvPr/>
        </p:nvGrpSpPr>
        <p:grpSpPr>
          <a:xfrm>
            <a:off x="3223112" y="2104090"/>
            <a:ext cx="769339" cy="769339"/>
            <a:chOff x="1119850" y="3102137"/>
            <a:chExt cx="798223" cy="798223"/>
          </a:xfrm>
        </p:grpSpPr>
        <p:sp>
          <p:nvSpPr>
            <p:cNvPr id="112" name="Rectangle 111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3299150" y="3650589"/>
            <a:ext cx="769339" cy="769339"/>
            <a:chOff x="1119850" y="3102137"/>
            <a:chExt cx="798223" cy="798223"/>
          </a:xfrm>
        </p:grpSpPr>
        <p:sp>
          <p:nvSpPr>
            <p:cNvPr id="115" name="Rectangle 114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4381739" y="1985889"/>
            <a:ext cx="4175512" cy="756739"/>
            <a:chOff x="1006796" y="2065235"/>
            <a:chExt cx="2390233" cy="756739"/>
          </a:xfrm>
        </p:grpSpPr>
        <p:sp>
          <p:nvSpPr>
            <p:cNvPr id="126" name="Text Placeholder 2"/>
            <p:cNvSpPr txBox="1">
              <a:spLocks/>
            </p:cNvSpPr>
            <p:nvPr/>
          </p:nvSpPr>
          <p:spPr>
            <a:xfrm>
              <a:off x="1006797" y="2408527"/>
              <a:ext cx="2390232" cy="41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da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alam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ni user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lihat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erbaga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ovel yang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udah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tambahk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urut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suka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ser dan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simp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local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torage</a:t>
              </a: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1006796" y="2065235"/>
              <a:ext cx="476430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Favorite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553492" y="3848041"/>
            <a:ext cx="260656" cy="374434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38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4457778" y="3510959"/>
            <a:ext cx="4033860" cy="756739"/>
            <a:chOff x="1006796" y="2065235"/>
            <a:chExt cx="4535675" cy="756739"/>
          </a:xfrm>
        </p:grpSpPr>
        <p:sp>
          <p:nvSpPr>
            <p:cNvPr id="143" name="Text Placeholder 2"/>
            <p:cNvSpPr txBox="1">
              <a:spLocks/>
            </p:cNvSpPr>
            <p:nvPr/>
          </p:nvSpPr>
          <p:spPr>
            <a:xfrm>
              <a:off x="1006796" y="2408527"/>
              <a:ext cx="4535675" cy="41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ampil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ta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ibad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ser yang bisa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edit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n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rhubung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engan API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006796" y="2065235"/>
              <a:ext cx="76119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rofile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7B17B30-EF2B-FED2-4A6E-BE25D6EB0413}"/>
              </a:ext>
            </a:extLst>
          </p:cNvPr>
          <p:cNvGrpSpPr/>
          <p:nvPr/>
        </p:nvGrpSpPr>
        <p:grpSpPr>
          <a:xfrm>
            <a:off x="3475670" y="2345090"/>
            <a:ext cx="285750" cy="287338"/>
            <a:chOff x="2025650" y="4786313"/>
            <a:chExt cx="285750" cy="287338"/>
          </a:xfrm>
          <a:solidFill>
            <a:srgbClr val="125680"/>
          </a:solidFill>
          <a:effectLst/>
        </p:grpSpPr>
        <p:sp>
          <p:nvSpPr>
            <p:cNvPr id="4" name="Freeform 565">
              <a:extLst>
                <a:ext uri="{FF2B5EF4-FFF2-40B4-BE49-F238E27FC236}">
                  <a16:creationId xmlns:a16="http://schemas.microsoft.com/office/drawing/2014/main" id="{44F263B0-3152-45E6-9BFC-07019FD00C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566">
              <a:extLst>
                <a:ext uri="{FF2B5EF4-FFF2-40B4-BE49-F238E27FC236}">
                  <a16:creationId xmlns:a16="http://schemas.microsoft.com/office/drawing/2014/main" id="{B9678FA3-076A-3F3A-6163-E24C22C0F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Group 4">
            <a:extLst>
              <a:ext uri="{FF2B5EF4-FFF2-40B4-BE49-F238E27FC236}">
                <a16:creationId xmlns:a16="http://schemas.microsoft.com/office/drawing/2014/main" id="{C4291768-623F-5A8D-CCD3-D2574C28CB67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8956709" y="491561"/>
            <a:ext cx="2921862" cy="5521180"/>
            <a:chOff x="3532" y="1579"/>
            <a:chExt cx="616" cy="1164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38F29EC1-4F85-993D-486E-AD78EBA37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64778B85-D0A3-7000-E0E3-EA48D363E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DC212867-746B-75A3-A3B8-46BB4C621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FA48681E-4E82-3CD2-1273-92C8816A4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DE4ACE9E-A07E-CCF5-B952-5E3386260D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890" t="14222" r="20065" b="12546"/>
          <a:stretch/>
        </p:blipFill>
        <p:spPr>
          <a:xfrm>
            <a:off x="259773" y="1056058"/>
            <a:ext cx="2727388" cy="4485915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1FC446F8-E919-1422-0620-9B1BF87B37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746" t="14690" r="20098" b="12547"/>
          <a:stretch/>
        </p:blipFill>
        <p:spPr>
          <a:xfrm>
            <a:off x="9096751" y="892295"/>
            <a:ext cx="2652309" cy="4522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301503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3115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C21CCCC-1A7B-7B1D-6516-37B4180DD4A1}"/>
              </a:ext>
            </a:extLst>
          </p:cNvPr>
          <p:cNvSpPr>
            <a:spLocks/>
          </p:cNvSpPr>
          <p:nvPr/>
        </p:nvSpPr>
        <p:spPr bwMode="auto">
          <a:xfrm flipH="1">
            <a:off x="555940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AABA08F-AD85-6FBF-2B7A-BC6CA58BAB5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76193" y="1567899"/>
            <a:ext cx="2228693" cy="3738149"/>
          </a:xfrm>
          <a:prstGeom prst="rect">
            <a:avLst/>
          </a:prstGeom>
          <a:gradFill flip="none" rotWithShape="1">
            <a:gsLst>
              <a:gs pos="23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Oval 7">
            <a:extLst>
              <a:ext uri="{FF2B5EF4-FFF2-40B4-BE49-F238E27FC236}">
                <a16:creationId xmlns:a16="http://schemas.microsoft.com/office/drawing/2014/main" id="{2AA222C0-0CE2-DB4B-F4E2-DF9AF5E3DFA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668281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5174624-DDDB-DFBE-85F9-F30D864DC8EE}"/>
              </a:ext>
            </a:extLst>
          </p:cNvPr>
          <p:cNvSpPr>
            <a:spLocks/>
          </p:cNvSpPr>
          <p:nvPr/>
        </p:nvSpPr>
        <p:spPr bwMode="auto">
          <a:xfrm flipH="1">
            <a:off x="4684068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Oval 7">
            <a:extLst>
              <a:ext uri="{FF2B5EF4-FFF2-40B4-BE49-F238E27FC236}">
                <a16:creationId xmlns:a16="http://schemas.microsoft.com/office/drawing/2014/main" id="{626180A3-296F-5197-BA0D-D890018B38A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815577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0DE8AAC-189F-B5FA-3A08-8177F1B7549C}"/>
              </a:ext>
            </a:extLst>
          </p:cNvPr>
          <p:cNvSpPr>
            <a:spLocks/>
          </p:cNvSpPr>
          <p:nvPr/>
        </p:nvSpPr>
        <p:spPr bwMode="auto">
          <a:xfrm flipH="1">
            <a:off x="8650504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7">
            <a:extLst>
              <a:ext uri="{FF2B5EF4-FFF2-40B4-BE49-F238E27FC236}">
                <a16:creationId xmlns:a16="http://schemas.microsoft.com/office/drawing/2014/main" id="{B4E0E2DB-3E8D-EAF1-2AEC-E951A733DE5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762846" y="5386666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180B28F-0C89-056E-2B1A-A101429B6D7F}"/>
              </a:ext>
            </a:extLst>
          </p:cNvPr>
          <p:cNvSpPr txBox="1"/>
          <p:nvPr/>
        </p:nvSpPr>
        <p:spPr>
          <a:xfrm>
            <a:off x="412051" y="6103947"/>
            <a:ext cx="2756973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lide For Delet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1A1233-3364-B7D0-B337-FA688FAEC8F1}"/>
              </a:ext>
            </a:extLst>
          </p:cNvPr>
          <p:cNvSpPr txBox="1"/>
          <p:nvPr/>
        </p:nvSpPr>
        <p:spPr>
          <a:xfrm>
            <a:off x="5446000" y="6046975"/>
            <a:ext cx="983667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ler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6296E4-41A8-F909-A61C-85F7CF30AE77}"/>
              </a:ext>
            </a:extLst>
          </p:cNvPr>
          <p:cNvSpPr txBox="1"/>
          <p:nvPr/>
        </p:nvSpPr>
        <p:spPr>
          <a:xfrm>
            <a:off x="8526397" y="6057360"/>
            <a:ext cx="2717411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No Data Adde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DFC36C1-3964-ACFC-64FE-C28B8C4C08CE}"/>
              </a:ext>
            </a:extLst>
          </p:cNvPr>
          <p:cNvSpPr txBox="1"/>
          <p:nvPr/>
        </p:nvSpPr>
        <p:spPr>
          <a:xfrm>
            <a:off x="555940" y="195471"/>
            <a:ext cx="4307269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Feature in Favorite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AF4979E-863F-CC06-DB27-D672BCD9E10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4785" t="14350" r="20165" b="12994"/>
          <a:stretch/>
        </p:blipFill>
        <p:spPr>
          <a:xfrm>
            <a:off x="4792736" y="1500604"/>
            <a:ext cx="2212498" cy="375549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421DC46-4159-C897-5070-5AB0FD96B45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4661" t="14576" r="19924" b="12655"/>
          <a:stretch/>
        </p:blipFill>
        <p:spPr>
          <a:xfrm>
            <a:off x="639955" y="1533937"/>
            <a:ext cx="2301166" cy="377211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E11D8A6-7BD3-41CC-D301-6414D35231C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4788" t="14802" r="19924" b="12655"/>
          <a:stretch/>
        </p:blipFill>
        <p:spPr>
          <a:xfrm>
            <a:off x="8756501" y="1461924"/>
            <a:ext cx="2257204" cy="378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67380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3115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C21CCCC-1A7B-7B1D-6516-37B4180DD4A1}"/>
              </a:ext>
            </a:extLst>
          </p:cNvPr>
          <p:cNvSpPr>
            <a:spLocks/>
          </p:cNvSpPr>
          <p:nvPr/>
        </p:nvSpPr>
        <p:spPr bwMode="auto">
          <a:xfrm flipH="1">
            <a:off x="555940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AABA08F-AD85-6FBF-2B7A-BC6CA58BAB5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76193" y="1567899"/>
            <a:ext cx="2228693" cy="3738149"/>
          </a:xfrm>
          <a:prstGeom prst="rect">
            <a:avLst/>
          </a:prstGeom>
          <a:gradFill flip="none" rotWithShape="1">
            <a:gsLst>
              <a:gs pos="23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Oval 7">
            <a:extLst>
              <a:ext uri="{FF2B5EF4-FFF2-40B4-BE49-F238E27FC236}">
                <a16:creationId xmlns:a16="http://schemas.microsoft.com/office/drawing/2014/main" id="{2AA222C0-0CE2-DB4B-F4E2-DF9AF5E3DFA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668281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5174624-DDDB-DFBE-85F9-F30D864DC8EE}"/>
              </a:ext>
            </a:extLst>
          </p:cNvPr>
          <p:cNvSpPr>
            <a:spLocks/>
          </p:cNvSpPr>
          <p:nvPr/>
        </p:nvSpPr>
        <p:spPr bwMode="auto">
          <a:xfrm flipH="1">
            <a:off x="4684068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Oval 7">
            <a:extLst>
              <a:ext uri="{FF2B5EF4-FFF2-40B4-BE49-F238E27FC236}">
                <a16:creationId xmlns:a16="http://schemas.microsoft.com/office/drawing/2014/main" id="{626180A3-296F-5197-BA0D-D890018B38A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815577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0DE8AAC-189F-B5FA-3A08-8177F1B7549C}"/>
              </a:ext>
            </a:extLst>
          </p:cNvPr>
          <p:cNvSpPr>
            <a:spLocks/>
          </p:cNvSpPr>
          <p:nvPr/>
        </p:nvSpPr>
        <p:spPr bwMode="auto">
          <a:xfrm flipH="1">
            <a:off x="8650504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7">
            <a:extLst>
              <a:ext uri="{FF2B5EF4-FFF2-40B4-BE49-F238E27FC236}">
                <a16:creationId xmlns:a16="http://schemas.microsoft.com/office/drawing/2014/main" id="{B4E0E2DB-3E8D-EAF1-2AEC-E951A733DE5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762846" y="5386666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180B28F-0C89-056E-2B1A-A101429B6D7F}"/>
              </a:ext>
            </a:extLst>
          </p:cNvPr>
          <p:cNvSpPr txBox="1"/>
          <p:nvPr/>
        </p:nvSpPr>
        <p:spPr>
          <a:xfrm>
            <a:off x="766604" y="6103947"/>
            <a:ext cx="2047868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Read Nov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1A1233-3364-B7D0-B337-FA688FAEC8F1}"/>
              </a:ext>
            </a:extLst>
          </p:cNvPr>
          <p:cNvSpPr txBox="1"/>
          <p:nvPr/>
        </p:nvSpPr>
        <p:spPr>
          <a:xfrm>
            <a:off x="4521234" y="6103947"/>
            <a:ext cx="2794868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dit User Profil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6296E4-41A8-F909-A61C-85F7CF30AE77}"/>
              </a:ext>
            </a:extLst>
          </p:cNvPr>
          <p:cNvSpPr txBox="1"/>
          <p:nvPr/>
        </p:nvSpPr>
        <p:spPr>
          <a:xfrm>
            <a:off x="8121606" y="6103947"/>
            <a:ext cx="3771509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fferent Icon Pag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DFC36C1-3964-ACFC-64FE-C28B8C4C08CE}"/>
              </a:ext>
            </a:extLst>
          </p:cNvPr>
          <p:cNvSpPr txBox="1"/>
          <p:nvPr/>
        </p:nvSpPr>
        <p:spPr>
          <a:xfrm>
            <a:off x="555940" y="195471"/>
            <a:ext cx="5468485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nother Screen Feature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5AB2F0-D68E-1642-D3AF-5BA546429BA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5042" t="14576" r="19924" b="13107"/>
          <a:stretch/>
        </p:blipFill>
        <p:spPr>
          <a:xfrm>
            <a:off x="673768" y="1475607"/>
            <a:ext cx="2234591" cy="39110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74E1CB1-4969-E67B-4FD3-D50C8A60AB5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4483" t="15206" r="19959" b="12995"/>
          <a:stretch/>
        </p:blipFill>
        <p:spPr>
          <a:xfrm>
            <a:off x="4776565" y="1475607"/>
            <a:ext cx="2284206" cy="391105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0D39A8D-6D53-63A5-0A53-B0F5AF6F54F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4597" t="14576" r="19924" b="12543"/>
          <a:stretch/>
        </p:blipFill>
        <p:spPr>
          <a:xfrm>
            <a:off x="8707588" y="1440394"/>
            <a:ext cx="2355027" cy="3882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781501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210552" y="2957449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gujia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plikas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72288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tar</a:t>
            </a:r>
            <a:r>
              <a:rPr lang="en-US" sz="3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32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lakang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bac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ovel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ta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k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ala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bi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gi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berap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rang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alagi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ik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ovel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sebut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isa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akses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pan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j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n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dak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rus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buka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website yang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bayar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leh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b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t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y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rpiki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untuk membua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plika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reading novel aga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permuda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mbac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pert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y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untuk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ngaks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ovel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ap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j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a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man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j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denga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nggunak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handphon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158A6D2-136D-4B8F-AFE3-D86F5DC90932}"/>
              </a:ext>
            </a:extLst>
          </p:cNvPr>
          <p:cNvGrpSpPr/>
          <p:nvPr/>
        </p:nvGrpSpPr>
        <p:grpSpPr>
          <a:xfrm>
            <a:off x="4600469" y="3396719"/>
            <a:ext cx="285750" cy="287338"/>
            <a:chOff x="3746500" y="13446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0" name="Freeform 497">
              <a:extLst>
                <a:ext uri="{FF2B5EF4-FFF2-40B4-BE49-F238E27FC236}">
                  <a16:creationId xmlns:a16="http://schemas.microsoft.com/office/drawing/2014/main" id="{5D9E124A-189C-47A6-BCC0-E9BF869CF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98">
              <a:extLst>
                <a:ext uri="{FF2B5EF4-FFF2-40B4-BE49-F238E27FC236}">
                  <a16:creationId xmlns:a16="http://schemas.microsoft.com/office/drawing/2014/main" id="{A47E030D-420D-43CA-ADEC-44572160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99">
              <a:extLst>
                <a:ext uri="{FF2B5EF4-FFF2-40B4-BE49-F238E27FC236}">
                  <a16:creationId xmlns:a16="http://schemas.microsoft.com/office/drawing/2014/main" id="{B411F2F2-5598-477F-9137-E80DD9F9B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00">
              <a:extLst>
                <a:ext uri="{FF2B5EF4-FFF2-40B4-BE49-F238E27FC236}">
                  <a16:creationId xmlns:a16="http://schemas.microsoft.com/office/drawing/2014/main" id="{A58C81C6-1A87-438C-8117-DAFDDDA98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01">
              <a:extLst>
                <a:ext uri="{FF2B5EF4-FFF2-40B4-BE49-F238E27FC236}">
                  <a16:creationId xmlns:a16="http://schemas.microsoft.com/office/drawing/2014/main" id="{4073DC26-3EF0-4358-B2FB-8DEAD26C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02">
              <a:extLst>
                <a:ext uri="{FF2B5EF4-FFF2-40B4-BE49-F238E27FC236}">
                  <a16:creationId xmlns:a16="http://schemas.microsoft.com/office/drawing/2014/main" id="{6B72D012-A2EA-4C61-8384-CFED0411A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03">
              <a:extLst>
                <a:ext uri="{FF2B5EF4-FFF2-40B4-BE49-F238E27FC236}">
                  <a16:creationId xmlns:a16="http://schemas.microsoft.com/office/drawing/2014/main" id="{647238C1-C646-4A06-88A1-851AE8239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04">
              <a:extLst>
                <a:ext uri="{FF2B5EF4-FFF2-40B4-BE49-F238E27FC236}">
                  <a16:creationId xmlns:a16="http://schemas.microsoft.com/office/drawing/2014/main" id="{B3C58DFD-A611-4BC4-B8F8-DCC1FF5DF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F213EB-2F87-46FE-92E2-AD6B352C3A42}"/>
              </a:ext>
            </a:extLst>
          </p:cNvPr>
          <p:cNvGrpSpPr/>
          <p:nvPr/>
        </p:nvGrpSpPr>
        <p:grpSpPr>
          <a:xfrm>
            <a:off x="4623488" y="4450823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9" name="Freeform 961">
              <a:extLst>
                <a:ext uri="{FF2B5EF4-FFF2-40B4-BE49-F238E27FC236}">
                  <a16:creationId xmlns:a16="http://schemas.microsoft.com/office/drawing/2014/main" id="{25AB7416-6918-4CFC-BD4C-1C0702DE6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962">
              <a:extLst>
                <a:ext uri="{FF2B5EF4-FFF2-40B4-BE49-F238E27FC236}">
                  <a16:creationId xmlns:a16="http://schemas.microsoft.com/office/drawing/2014/main" id="{A53A1029-D92C-473D-A0A6-DE77495E2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963">
              <a:extLst>
                <a:ext uri="{FF2B5EF4-FFF2-40B4-BE49-F238E27FC236}">
                  <a16:creationId xmlns:a16="http://schemas.microsoft.com/office/drawing/2014/main" id="{8E5510B4-EAA5-4B2D-9E4D-87C0E69B2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964">
              <a:extLst>
                <a:ext uri="{FF2B5EF4-FFF2-40B4-BE49-F238E27FC236}">
                  <a16:creationId xmlns:a16="http://schemas.microsoft.com/office/drawing/2014/main" id="{51A990BD-3456-4FEA-B40E-A6BDCB2EC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0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4267CBA-11A5-237A-FDF2-099BF25C170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2523" r="62078" b="16697"/>
          <a:stretch/>
        </p:blipFill>
        <p:spPr>
          <a:xfrm>
            <a:off x="6477560" y="2697174"/>
            <a:ext cx="2223083" cy="41012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1F93B76-995B-8EBB-5003-E37CF53D49F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2730" r="62078" b="16923"/>
          <a:stretch/>
        </p:blipFill>
        <p:spPr>
          <a:xfrm>
            <a:off x="9170358" y="2674736"/>
            <a:ext cx="2223083" cy="4123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700" b="22989"/>
          <a:stretch/>
        </p:blipFill>
        <p:spPr>
          <a:xfrm>
            <a:off x="-1" y="4476289"/>
            <a:ext cx="12188891" cy="238171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4473574"/>
            <a:ext cx="12192000" cy="2384426"/>
          </a:xfrm>
          <a:prstGeom prst="rect">
            <a:avLst/>
          </a:prstGeom>
          <a:gradFill flip="none" rotWithShape="1">
            <a:gsLst>
              <a:gs pos="36000">
                <a:srgbClr val="09192F">
                  <a:alpha val="72000"/>
                </a:srgbClr>
              </a:gs>
              <a:gs pos="100000">
                <a:srgbClr val="125680">
                  <a:alpha val="64000"/>
                </a:srgbClr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-62821"/>
            <a:ext cx="12188891" cy="4473574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826809" y="589490"/>
            <a:ext cx="1741182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Feature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038361" y="5269154"/>
            <a:ext cx="793266" cy="793266"/>
            <a:chOff x="1038361" y="5034396"/>
            <a:chExt cx="1021462" cy="1021462"/>
          </a:xfrm>
        </p:grpSpPr>
        <p:sp>
          <p:nvSpPr>
            <p:cNvPr id="37" name="Rectangle 36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Freeform 2972"/>
            <p:cNvSpPr>
              <a:spLocks noEditPoints="1"/>
            </p:cNvSpPr>
            <p:nvPr/>
          </p:nvSpPr>
          <p:spPr bwMode="auto">
            <a:xfrm>
              <a:off x="1336895" y="5345971"/>
              <a:ext cx="424394" cy="398312"/>
            </a:xfrm>
            <a:custGeom>
              <a:avLst/>
              <a:gdLst>
                <a:gd name="T0" fmla="*/ 373 w 719"/>
                <a:gd name="T1" fmla="*/ 471 h 671"/>
                <a:gd name="T2" fmla="*/ 314 w 719"/>
                <a:gd name="T3" fmla="*/ 424 h 671"/>
                <a:gd name="T4" fmla="*/ 241 w 719"/>
                <a:gd name="T5" fmla="*/ 344 h 671"/>
                <a:gd name="T6" fmla="*/ 206 w 719"/>
                <a:gd name="T7" fmla="*/ 281 h 671"/>
                <a:gd name="T8" fmla="*/ 204 w 719"/>
                <a:gd name="T9" fmla="*/ 244 h 671"/>
                <a:gd name="T10" fmla="*/ 215 w 719"/>
                <a:gd name="T11" fmla="*/ 206 h 671"/>
                <a:gd name="T12" fmla="*/ 237 w 719"/>
                <a:gd name="T13" fmla="*/ 177 h 671"/>
                <a:gd name="T14" fmla="*/ 267 w 719"/>
                <a:gd name="T15" fmla="*/ 161 h 671"/>
                <a:gd name="T16" fmla="*/ 303 w 719"/>
                <a:gd name="T17" fmla="*/ 158 h 671"/>
                <a:gd name="T18" fmla="*/ 348 w 719"/>
                <a:gd name="T19" fmla="*/ 182 h 671"/>
                <a:gd name="T20" fmla="*/ 372 w 719"/>
                <a:gd name="T21" fmla="*/ 215 h 671"/>
                <a:gd name="T22" fmla="*/ 387 w 719"/>
                <a:gd name="T23" fmla="*/ 200 h 671"/>
                <a:gd name="T24" fmla="*/ 424 w 719"/>
                <a:gd name="T25" fmla="*/ 166 h 671"/>
                <a:gd name="T26" fmla="*/ 467 w 719"/>
                <a:gd name="T27" fmla="*/ 158 h 671"/>
                <a:gd name="T28" fmla="*/ 499 w 719"/>
                <a:gd name="T29" fmla="*/ 168 h 671"/>
                <a:gd name="T30" fmla="*/ 525 w 719"/>
                <a:gd name="T31" fmla="*/ 191 h 671"/>
                <a:gd name="T32" fmla="*/ 543 w 719"/>
                <a:gd name="T33" fmla="*/ 224 h 671"/>
                <a:gd name="T34" fmla="*/ 546 w 719"/>
                <a:gd name="T35" fmla="*/ 264 h 671"/>
                <a:gd name="T36" fmla="*/ 532 w 719"/>
                <a:gd name="T37" fmla="*/ 308 h 671"/>
                <a:gd name="T38" fmla="*/ 481 w 719"/>
                <a:gd name="T39" fmla="*/ 378 h 671"/>
                <a:gd name="T40" fmla="*/ 388 w 719"/>
                <a:gd name="T41" fmla="*/ 463 h 671"/>
                <a:gd name="T42" fmla="*/ 342 w 719"/>
                <a:gd name="T43" fmla="*/ 0 h 671"/>
                <a:gd name="T44" fmla="*/ 270 w 719"/>
                <a:gd name="T45" fmla="*/ 10 h 671"/>
                <a:gd name="T46" fmla="*/ 204 w 719"/>
                <a:gd name="T47" fmla="*/ 30 h 671"/>
                <a:gd name="T48" fmla="*/ 144 w 719"/>
                <a:gd name="T49" fmla="*/ 60 h 671"/>
                <a:gd name="T50" fmla="*/ 94 w 719"/>
                <a:gd name="T51" fmla="*/ 98 h 671"/>
                <a:gd name="T52" fmla="*/ 53 w 719"/>
                <a:gd name="T53" fmla="*/ 143 h 671"/>
                <a:gd name="T54" fmla="*/ 22 w 719"/>
                <a:gd name="T55" fmla="*/ 194 h 671"/>
                <a:gd name="T56" fmla="*/ 5 w 719"/>
                <a:gd name="T57" fmla="*/ 251 h 671"/>
                <a:gd name="T58" fmla="*/ 0 w 719"/>
                <a:gd name="T59" fmla="*/ 311 h 671"/>
                <a:gd name="T60" fmla="*/ 11 w 719"/>
                <a:gd name="T61" fmla="*/ 367 h 671"/>
                <a:gd name="T62" fmla="*/ 34 w 719"/>
                <a:gd name="T63" fmla="*/ 420 h 671"/>
                <a:gd name="T64" fmla="*/ 68 w 719"/>
                <a:gd name="T65" fmla="*/ 469 h 671"/>
                <a:gd name="T66" fmla="*/ 25 w 719"/>
                <a:gd name="T67" fmla="*/ 653 h 671"/>
                <a:gd name="T68" fmla="*/ 28 w 719"/>
                <a:gd name="T69" fmla="*/ 667 h 671"/>
                <a:gd name="T70" fmla="*/ 42 w 719"/>
                <a:gd name="T71" fmla="*/ 670 h 671"/>
                <a:gd name="T72" fmla="*/ 329 w 719"/>
                <a:gd name="T73" fmla="*/ 590 h 671"/>
                <a:gd name="T74" fmla="*/ 414 w 719"/>
                <a:gd name="T75" fmla="*/ 588 h 671"/>
                <a:gd name="T76" fmla="*/ 483 w 719"/>
                <a:gd name="T77" fmla="*/ 574 h 671"/>
                <a:gd name="T78" fmla="*/ 546 w 719"/>
                <a:gd name="T79" fmla="*/ 549 h 671"/>
                <a:gd name="T80" fmla="*/ 601 w 719"/>
                <a:gd name="T81" fmla="*/ 514 h 671"/>
                <a:gd name="T82" fmla="*/ 648 w 719"/>
                <a:gd name="T83" fmla="*/ 472 h 671"/>
                <a:gd name="T84" fmla="*/ 683 w 719"/>
                <a:gd name="T85" fmla="*/ 424 h 671"/>
                <a:gd name="T86" fmla="*/ 708 w 719"/>
                <a:gd name="T87" fmla="*/ 369 h 671"/>
                <a:gd name="T88" fmla="*/ 719 w 719"/>
                <a:gd name="T89" fmla="*/ 311 h 671"/>
                <a:gd name="T90" fmla="*/ 715 w 719"/>
                <a:gd name="T91" fmla="*/ 251 h 671"/>
                <a:gd name="T92" fmla="*/ 698 w 719"/>
                <a:gd name="T93" fmla="*/ 194 h 671"/>
                <a:gd name="T94" fmla="*/ 667 w 719"/>
                <a:gd name="T95" fmla="*/ 143 h 671"/>
                <a:gd name="T96" fmla="*/ 626 w 719"/>
                <a:gd name="T97" fmla="*/ 98 h 671"/>
                <a:gd name="T98" fmla="*/ 575 w 719"/>
                <a:gd name="T99" fmla="*/ 60 h 671"/>
                <a:gd name="T100" fmla="*/ 516 w 719"/>
                <a:gd name="T101" fmla="*/ 30 h 671"/>
                <a:gd name="T102" fmla="*/ 450 w 719"/>
                <a:gd name="T103" fmla="*/ 10 h 671"/>
                <a:gd name="T104" fmla="*/ 379 w 719"/>
                <a:gd name="T105" fmla="*/ 1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19" h="671">
                  <a:moveTo>
                    <a:pt x="379" y="470"/>
                  </a:moveTo>
                  <a:lnTo>
                    <a:pt x="376" y="471"/>
                  </a:lnTo>
                  <a:lnTo>
                    <a:pt x="375" y="471"/>
                  </a:lnTo>
                  <a:lnTo>
                    <a:pt x="373" y="471"/>
                  </a:lnTo>
                  <a:lnTo>
                    <a:pt x="372" y="470"/>
                  </a:lnTo>
                  <a:lnTo>
                    <a:pt x="362" y="463"/>
                  </a:lnTo>
                  <a:lnTo>
                    <a:pt x="342" y="447"/>
                  </a:lnTo>
                  <a:lnTo>
                    <a:pt x="314" y="424"/>
                  </a:lnTo>
                  <a:lnTo>
                    <a:pt x="285" y="395"/>
                  </a:lnTo>
                  <a:lnTo>
                    <a:pt x="269" y="378"/>
                  </a:lnTo>
                  <a:lnTo>
                    <a:pt x="254" y="362"/>
                  </a:lnTo>
                  <a:lnTo>
                    <a:pt x="241" y="344"/>
                  </a:lnTo>
                  <a:lnTo>
                    <a:pt x="228" y="326"/>
                  </a:lnTo>
                  <a:lnTo>
                    <a:pt x="218" y="308"/>
                  </a:lnTo>
                  <a:lnTo>
                    <a:pt x="210" y="290"/>
                  </a:lnTo>
                  <a:lnTo>
                    <a:pt x="206" y="281"/>
                  </a:lnTo>
                  <a:lnTo>
                    <a:pt x="205" y="273"/>
                  </a:lnTo>
                  <a:lnTo>
                    <a:pt x="204" y="264"/>
                  </a:lnTo>
                  <a:lnTo>
                    <a:pt x="203" y="255"/>
                  </a:lnTo>
                  <a:lnTo>
                    <a:pt x="204" y="244"/>
                  </a:lnTo>
                  <a:lnTo>
                    <a:pt x="205" y="233"/>
                  </a:lnTo>
                  <a:lnTo>
                    <a:pt x="207" y="224"/>
                  </a:lnTo>
                  <a:lnTo>
                    <a:pt x="211" y="214"/>
                  </a:lnTo>
                  <a:lnTo>
                    <a:pt x="215" y="206"/>
                  </a:lnTo>
                  <a:lnTo>
                    <a:pt x="219" y="198"/>
                  </a:lnTo>
                  <a:lnTo>
                    <a:pt x="225" y="191"/>
                  </a:lnTo>
                  <a:lnTo>
                    <a:pt x="231" y="183"/>
                  </a:lnTo>
                  <a:lnTo>
                    <a:pt x="237" y="177"/>
                  </a:lnTo>
                  <a:lnTo>
                    <a:pt x="244" y="173"/>
                  </a:lnTo>
                  <a:lnTo>
                    <a:pt x="251" y="168"/>
                  </a:lnTo>
                  <a:lnTo>
                    <a:pt x="259" y="164"/>
                  </a:lnTo>
                  <a:lnTo>
                    <a:pt x="267" y="161"/>
                  </a:lnTo>
                  <a:lnTo>
                    <a:pt x="275" y="160"/>
                  </a:lnTo>
                  <a:lnTo>
                    <a:pt x="282" y="158"/>
                  </a:lnTo>
                  <a:lnTo>
                    <a:pt x="291" y="157"/>
                  </a:lnTo>
                  <a:lnTo>
                    <a:pt x="303" y="158"/>
                  </a:lnTo>
                  <a:lnTo>
                    <a:pt x="314" y="161"/>
                  </a:lnTo>
                  <a:lnTo>
                    <a:pt x="326" y="166"/>
                  </a:lnTo>
                  <a:lnTo>
                    <a:pt x="337" y="173"/>
                  </a:lnTo>
                  <a:lnTo>
                    <a:pt x="348" y="182"/>
                  </a:lnTo>
                  <a:lnTo>
                    <a:pt x="359" y="193"/>
                  </a:lnTo>
                  <a:lnTo>
                    <a:pt x="363" y="200"/>
                  </a:lnTo>
                  <a:lnTo>
                    <a:pt x="367" y="207"/>
                  </a:lnTo>
                  <a:lnTo>
                    <a:pt x="372" y="215"/>
                  </a:lnTo>
                  <a:lnTo>
                    <a:pt x="375" y="224"/>
                  </a:lnTo>
                  <a:lnTo>
                    <a:pt x="379" y="215"/>
                  </a:lnTo>
                  <a:lnTo>
                    <a:pt x="382" y="207"/>
                  </a:lnTo>
                  <a:lnTo>
                    <a:pt x="387" y="200"/>
                  </a:lnTo>
                  <a:lnTo>
                    <a:pt x="392" y="193"/>
                  </a:lnTo>
                  <a:lnTo>
                    <a:pt x="401" y="182"/>
                  </a:lnTo>
                  <a:lnTo>
                    <a:pt x="412" y="173"/>
                  </a:lnTo>
                  <a:lnTo>
                    <a:pt x="424" y="166"/>
                  </a:lnTo>
                  <a:lnTo>
                    <a:pt x="436" y="161"/>
                  </a:lnTo>
                  <a:lnTo>
                    <a:pt x="448" y="158"/>
                  </a:lnTo>
                  <a:lnTo>
                    <a:pt x="458" y="157"/>
                  </a:lnTo>
                  <a:lnTo>
                    <a:pt x="467" y="158"/>
                  </a:lnTo>
                  <a:lnTo>
                    <a:pt x="475" y="160"/>
                  </a:lnTo>
                  <a:lnTo>
                    <a:pt x="483" y="161"/>
                  </a:lnTo>
                  <a:lnTo>
                    <a:pt x="491" y="164"/>
                  </a:lnTo>
                  <a:lnTo>
                    <a:pt x="499" y="168"/>
                  </a:lnTo>
                  <a:lnTo>
                    <a:pt x="506" y="173"/>
                  </a:lnTo>
                  <a:lnTo>
                    <a:pt x="513" y="177"/>
                  </a:lnTo>
                  <a:lnTo>
                    <a:pt x="519" y="183"/>
                  </a:lnTo>
                  <a:lnTo>
                    <a:pt x="525" y="191"/>
                  </a:lnTo>
                  <a:lnTo>
                    <a:pt x="531" y="198"/>
                  </a:lnTo>
                  <a:lnTo>
                    <a:pt x="536" y="206"/>
                  </a:lnTo>
                  <a:lnTo>
                    <a:pt x="539" y="214"/>
                  </a:lnTo>
                  <a:lnTo>
                    <a:pt x="543" y="224"/>
                  </a:lnTo>
                  <a:lnTo>
                    <a:pt x="545" y="233"/>
                  </a:lnTo>
                  <a:lnTo>
                    <a:pt x="546" y="244"/>
                  </a:lnTo>
                  <a:lnTo>
                    <a:pt x="546" y="255"/>
                  </a:lnTo>
                  <a:lnTo>
                    <a:pt x="546" y="264"/>
                  </a:lnTo>
                  <a:lnTo>
                    <a:pt x="545" y="273"/>
                  </a:lnTo>
                  <a:lnTo>
                    <a:pt x="543" y="281"/>
                  </a:lnTo>
                  <a:lnTo>
                    <a:pt x="541" y="290"/>
                  </a:lnTo>
                  <a:lnTo>
                    <a:pt x="532" y="308"/>
                  </a:lnTo>
                  <a:lnTo>
                    <a:pt x="521" y="326"/>
                  </a:lnTo>
                  <a:lnTo>
                    <a:pt x="510" y="344"/>
                  </a:lnTo>
                  <a:lnTo>
                    <a:pt x="495" y="362"/>
                  </a:lnTo>
                  <a:lnTo>
                    <a:pt x="481" y="378"/>
                  </a:lnTo>
                  <a:lnTo>
                    <a:pt x="466" y="395"/>
                  </a:lnTo>
                  <a:lnTo>
                    <a:pt x="435" y="424"/>
                  </a:lnTo>
                  <a:lnTo>
                    <a:pt x="407" y="447"/>
                  </a:lnTo>
                  <a:lnTo>
                    <a:pt x="388" y="463"/>
                  </a:lnTo>
                  <a:lnTo>
                    <a:pt x="379" y="470"/>
                  </a:lnTo>
                  <a:lnTo>
                    <a:pt x="379" y="470"/>
                  </a:lnTo>
                  <a:close/>
                  <a:moveTo>
                    <a:pt x="360" y="0"/>
                  </a:moveTo>
                  <a:lnTo>
                    <a:pt x="342" y="0"/>
                  </a:lnTo>
                  <a:lnTo>
                    <a:pt x="323" y="1"/>
                  </a:lnTo>
                  <a:lnTo>
                    <a:pt x="305" y="4"/>
                  </a:lnTo>
                  <a:lnTo>
                    <a:pt x="287" y="6"/>
                  </a:lnTo>
                  <a:lnTo>
                    <a:pt x="270" y="10"/>
                  </a:lnTo>
                  <a:lnTo>
                    <a:pt x="253" y="13"/>
                  </a:lnTo>
                  <a:lnTo>
                    <a:pt x="236" y="18"/>
                  </a:lnTo>
                  <a:lnTo>
                    <a:pt x="221" y="24"/>
                  </a:lnTo>
                  <a:lnTo>
                    <a:pt x="204" y="30"/>
                  </a:lnTo>
                  <a:lnTo>
                    <a:pt x="188" y="36"/>
                  </a:lnTo>
                  <a:lnTo>
                    <a:pt x="174" y="43"/>
                  </a:lnTo>
                  <a:lnTo>
                    <a:pt x="159" y="51"/>
                  </a:lnTo>
                  <a:lnTo>
                    <a:pt x="144" y="60"/>
                  </a:lnTo>
                  <a:lnTo>
                    <a:pt x="131" y="68"/>
                  </a:lnTo>
                  <a:lnTo>
                    <a:pt x="118" y="78"/>
                  </a:lnTo>
                  <a:lnTo>
                    <a:pt x="106" y="87"/>
                  </a:lnTo>
                  <a:lnTo>
                    <a:pt x="94" y="98"/>
                  </a:lnTo>
                  <a:lnTo>
                    <a:pt x="83" y="108"/>
                  </a:lnTo>
                  <a:lnTo>
                    <a:pt x="72" y="119"/>
                  </a:lnTo>
                  <a:lnTo>
                    <a:pt x="62" y="131"/>
                  </a:lnTo>
                  <a:lnTo>
                    <a:pt x="53" y="143"/>
                  </a:lnTo>
                  <a:lnTo>
                    <a:pt x="44" y="155"/>
                  </a:lnTo>
                  <a:lnTo>
                    <a:pt x="36" y="168"/>
                  </a:lnTo>
                  <a:lnTo>
                    <a:pt x="29" y="181"/>
                  </a:lnTo>
                  <a:lnTo>
                    <a:pt x="22" y="194"/>
                  </a:lnTo>
                  <a:lnTo>
                    <a:pt x="17" y="208"/>
                  </a:lnTo>
                  <a:lnTo>
                    <a:pt x="12" y="223"/>
                  </a:lnTo>
                  <a:lnTo>
                    <a:pt x="8" y="237"/>
                  </a:lnTo>
                  <a:lnTo>
                    <a:pt x="5" y="251"/>
                  </a:lnTo>
                  <a:lnTo>
                    <a:pt x="3" y="265"/>
                  </a:lnTo>
                  <a:lnTo>
                    <a:pt x="0" y="281"/>
                  </a:lnTo>
                  <a:lnTo>
                    <a:pt x="0" y="296"/>
                  </a:lnTo>
                  <a:lnTo>
                    <a:pt x="0" y="311"/>
                  </a:lnTo>
                  <a:lnTo>
                    <a:pt x="2" y="325"/>
                  </a:lnTo>
                  <a:lnTo>
                    <a:pt x="4" y="339"/>
                  </a:lnTo>
                  <a:lnTo>
                    <a:pt x="8" y="352"/>
                  </a:lnTo>
                  <a:lnTo>
                    <a:pt x="11" y="367"/>
                  </a:lnTo>
                  <a:lnTo>
                    <a:pt x="15" y="381"/>
                  </a:lnTo>
                  <a:lnTo>
                    <a:pt x="21" y="394"/>
                  </a:lnTo>
                  <a:lnTo>
                    <a:pt x="27" y="407"/>
                  </a:lnTo>
                  <a:lnTo>
                    <a:pt x="34" y="420"/>
                  </a:lnTo>
                  <a:lnTo>
                    <a:pt x="41" y="432"/>
                  </a:lnTo>
                  <a:lnTo>
                    <a:pt x="49" y="445"/>
                  </a:lnTo>
                  <a:lnTo>
                    <a:pt x="59" y="457"/>
                  </a:lnTo>
                  <a:lnTo>
                    <a:pt x="68" y="469"/>
                  </a:lnTo>
                  <a:lnTo>
                    <a:pt x="79" y="480"/>
                  </a:lnTo>
                  <a:lnTo>
                    <a:pt x="90" y="490"/>
                  </a:lnTo>
                  <a:lnTo>
                    <a:pt x="102" y="501"/>
                  </a:lnTo>
                  <a:lnTo>
                    <a:pt x="25" y="653"/>
                  </a:lnTo>
                  <a:lnTo>
                    <a:pt x="24" y="657"/>
                  </a:lnTo>
                  <a:lnTo>
                    <a:pt x="24" y="662"/>
                  </a:lnTo>
                  <a:lnTo>
                    <a:pt x="25" y="665"/>
                  </a:lnTo>
                  <a:lnTo>
                    <a:pt x="28" y="667"/>
                  </a:lnTo>
                  <a:lnTo>
                    <a:pt x="31" y="670"/>
                  </a:lnTo>
                  <a:lnTo>
                    <a:pt x="36" y="671"/>
                  </a:lnTo>
                  <a:lnTo>
                    <a:pt x="39" y="671"/>
                  </a:lnTo>
                  <a:lnTo>
                    <a:pt x="42" y="670"/>
                  </a:lnTo>
                  <a:lnTo>
                    <a:pt x="240" y="574"/>
                  </a:lnTo>
                  <a:lnTo>
                    <a:pt x="268" y="582"/>
                  </a:lnTo>
                  <a:lnTo>
                    <a:pt x="299" y="587"/>
                  </a:lnTo>
                  <a:lnTo>
                    <a:pt x="329" y="590"/>
                  </a:lnTo>
                  <a:lnTo>
                    <a:pt x="360" y="591"/>
                  </a:lnTo>
                  <a:lnTo>
                    <a:pt x="379" y="590"/>
                  </a:lnTo>
                  <a:lnTo>
                    <a:pt x="397" y="590"/>
                  </a:lnTo>
                  <a:lnTo>
                    <a:pt x="414" y="588"/>
                  </a:lnTo>
                  <a:lnTo>
                    <a:pt x="432" y="585"/>
                  </a:lnTo>
                  <a:lnTo>
                    <a:pt x="450" y="582"/>
                  </a:lnTo>
                  <a:lnTo>
                    <a:pt x="467" y="578"/>
                  </a:lnTo>
                  <a:lnTo>
                    <a:pt x="483" y="574"/>
                  </a:lnTo>
                  <a:lnTo>
                    <a:pt x="500" y="568"/>
                  </a:lnTo>
                  <a:lnTo>
                    <a:pt x="516" y="562"/>
                  </a:lnTo>
                  <a:lnTo>
                    <a:pt x="531" y="556"/>
                  </a:lnTo>
                  <a:lnTo>
                    <a:pt x="546" y="549"/>
                  </a:lnTo>
                  <a:lnTo>
                    <a:pt x="561" y="540"/>
                  </a:lnTo>
                  <a:lnTo>
                    <a:pt x="575" y="532"/>
                  </a:lnTo>
                  <a:lnTo>
                    <a:pt x="588" y="524"/>
                  </a:lnTo>
                  <a:lnTo>
                    <a:pt x="601" y="514"/>
                  </a:lnTo>
                  <a:lnTo>
                    <a:pt x="614" y="505"/>
                  </a:lnTo>
                  <a:lnTo>
                    <a:pt x="626" y="494"/>
                  </a:lnTo>
                  <a:lnTo>
                    <a:pt x="637" y="483"/>
                  </a:lnTo>
                  <a:lnTo>
                    <a:pt x="648" y="472"/>
                  </a:lnTo>
                  <a:lnTo>
                    <a:pt x="658" y="461"/>
                  </a:lnTo>
                  <a:lnTo>
                    <a:pt x="667" y="449"/>
                  </a:lnTo>
                  <a:lnTo>
                    <a:pt x="676" y="437"/>
                  </a:lnTo>
                  <a:lnTo>
                    <a:pt x="683" y="424"/>
                  </a:lnTo>
                  <a:lnTo>
                    <a:pt x="690" y="411"/>
                  </a:lnTo>
                  <a:lnTo>
                    <a:pt x="698" y="397"/>
                  </a:lnTo>
                  <a:lnTo>
                    <a:pt x="703" y="383"/>
                  </a:lnTo>
                  <a:lnTo>
                    <a:pt x="708" y="369"/>
                  </a:lnTo>
                  <a:lnTo>
                    <a:pt x="712" y="355"/>
                  </a:lnTo>
                  <a:lnTo>
                    <a:pt x="715" y="340"/>
                  </a:lnTo>
                  <a:lnTo>
                    <a:pt x="718" y="326"/>
                  </a:lnTo>
                  <a:lnTo>
                    <a:pt x="719" y="311"/>
                  </a:lnTo>
                  <a:lnTo>
                    <a:pt x="719" y="296"/>
                  </a:lnTo>
                  <a:lnTo>
                    <a:pt x="719" y="281"/>
                  </a:lnTo>
                  <a:lnTo>
                    <a:pt x="718" y="265"/>
                  </a:lnTo>
                  <a:lnTo>
                    <a:pt x="715" y="251"/>
                  </a:lnTo>
                  <a:lnTo>
                    <a:pt x="712" y="237"/>
                  </a:lnTo>
                  <a:lnTo>
                    <a:pt x="708" y="223"/>
                  </a:lnTo>
                  <a:lnTo>
                    <a:pt x="703" y="208"/>
                  </a:lnTo>
                  <a:lnTo>
                    <a:pt x="698" y="194"/>
                  </a:lnTo>
                  <a:lnTo>
                    <a:pt x="690" y="181"/>
                  </a:lnTo>
                  <a:lnTo>
                    <a:pt x="683" y="168"/>
                  </a:lnTo>
                  <a:lnTo>
                    <a:pt x="676" y="155"/>
                  </a:lnTo>
                  <a:lnTo>
                    <a:pt x="667" y="143"/>
                  </a:lnTo>
                  <a:lnTo>
                    <a:pt x="658" y="131"/>
                  </a:lnTo>
                  <a:lnTo>
                    <a:pt x="648" y="119"/>
                  </a:lnTo>
                  <a:lnTo>
                    <a:pt x="637" y="108"/>
                  </a:lnTo>
                  <a:lnTo>
                    <a:pt x="626" y="98"/>
                  </a:lnTo>
                  <a:lnTo>
                    <a:pt x="614" y="87"/>
                  </a:lnTo>
                  <a:lnTo>
                    <a:pt x="601" y="78"/>
                  </a:lnTo>
                  <a:lnTo>
                    <a:pt x="588" y="68"/>
                  </a:lnTo>
                  <a:lnTo>
                    <a:pt x="575" y="60"/>
                  </a:lnTo>
                  <a:lnTo>
                    <a:pt x="561" y="51"/>
                  </a:lnTo>
                  <a:lnTo>
                    <a:pt x="546" y="43"/>
                  </a:lnTo>
                  <a:lnTo>
                    <a:pt x="531" y="36"/>
                  </a:lnTo>
                  <a:lnTo>
                    <a:pt x="516" y="30"/>
                  </a:lnTo>
                  <a:lnTo>
                    <a:pt x="500" y="24"/>
                  </a:lnTo>
                  <a:lnTo>
                    <a:pt x="483" y="18"/>
                  </a:lnTo>
                  <a:lnTo>
                    <a:pt x="467" y="13"/>
                  </a:lnTo>
                  <a:lnTo>
                    <a:pt x="450" y="10"/>
                  </a:lnTo>
                  <a:lnTo>
                    <a:pt x="432" y="6"/>
                  </a:lnTo>
                  <a:lnTo>
                    <a:pt x="414" y="4"/>
                  </a:lnTo>
                  <a:lnTo>
                    <a:pt x="397" y="1"/>
                  </a:lnTo>
                  <a:lnTo>
                    <a:pt x="379" y="1"/>
                  </a:lnTo>
                  <a:lnTo>
                    <a:pt x="360" y="0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25680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158167" y="5154939"/>
            <a:ext cx="1851317" cy="1430265"/>
            <a:chOff x="2158167" y="5234241"/>
            <a:chExt cx="1851317" cy="1430265"/>
          </a:xfrm>
        </p:grpSpPr>
        <p:sp>
          <p:nvSpPr>
            <p:cNvPr id="41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106747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tur ini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ungkink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ser untuk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tap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tau novel mana yang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arik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n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k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bacanya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kemudi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ari</a:t>
              </a:r>
              <a:endPara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158167" y="5234241"/>
              <a:ext cx="710194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Favorit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625476" y="5269154"/>
            <a:ext cx="793266" cy="793266"/>
            <a:chOff x="1038361" y="5034396"/>
            <a:chExt cx="1021462" cy="1021462"/>
          </a:xfrm>
        </p:grpSpPr>
        <p:sp>
          <p:nvSpPr>
            <p:cNvPr id="64" name="Rectangle 63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745282" y="5154939"/>
            <a:ext cx="1851317" cy="1648273"/>
            <a:chOff x="2158167" y="5234241"/>
            <a:chExt cx="1851317" cy="1648273"/>
          </a:xfrm>
        </p:grpSpPr>
        <p:sp>
          <p:nvSpPr>
            <p:cNvPr id="62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128548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ser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ganti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nya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suai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 yang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rsedia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n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ambah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bout yang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una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ntuk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enalkan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rinya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</a:t>
              </a:r>
              <a:r>
                <a:rPr lang="en-US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user lain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158167" y="5234241"/>
              <a:ext cx="676980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Profile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8212591" y="5269154"/>
            <a:ext cx="793266" cy="793266"/>
            <a:chOff x="1038361" y="5034396"/>
            <a:chExt cx="1021462" cy="1021462"/>
          </a:xfrm>
        </p:grpSpPr>
        <p:sp>
          <p:nvSpPr>
            <p:cNvPr id="72" name="Rectangle 71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9332397" y="5154939"/>
            <a:ext cx="1851317" cy="1212256"/>
            <a:chOff x="2158167" y="5234241"/>
            <a:chExt cx="1851317" cy="1212256"/>
          </a:xfrm>
        </p:grpSpPr>
        <p:sp>
          <p:nvSpPr>
            <p:cNvPr id="70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8494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perti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amanya user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kan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baca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luruh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hapter yang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rsedia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berbagai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judul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ovel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2158167" y="5234241"/>
              <a:ext cx="1706108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Mode Membaca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8462001" y="5516692"/>
            <a:ext cx="294448" cy="260092"/>
            <a:chOff x="7600950" y="779463"/>
            <a:chExt cx="285750" cy="252412"/>
          </a:xfrm>
          <a:solidFill>
            <a:srgbClr val="125680"/>
          </a:solidFill>
          <a:effectLst/>
        </p:grpSpPr>
        <p:sp>
          <p:nvSpPr>
            <p:cNvPr id="85" name="Freeform 3135"/>
            <p:cNvSpPr>
              <a:spLocks/>
            </p:cNvSpPr>
            <p:nvPr/>
          </p:nvSpPr>
          <p:spPr bwMode="auto">
            <a:xfrm>
              <a:off x="7677150" y="779463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7" name="Freeform 1592"/>
          <p:cNvSpPr>
            <a:spLocks noEditPoints="1"/>
          </p:cNvSpPr>
          <p:nvPr/>
        </p:nvSpPr>
        <p:spPr bwMode="auto">
          <a:xfrm>
            <a:off x="821069" y="2143480"/>
            <a:ext cx="414075" cy="386623"/>
          </a:xfrm>
          <a:custGeom>
            <a:avLst/>
            <a:gdLst>
              <a:gd name="T0" fmla="*/ 91 w 905"/>
              <a:gd name="T1" fmla="*/ 90 h 845"/>
              <a:gd name="T2" fmla="*/ 452 w 905"/>
              <a:gd name="T3" fmla="*/ 679 h 845"/>
              <a:gd name="T4" fmla="*/ 436 w 905"/>
              <a:gd name="T5" fmla="*/ 673 h 845"/>
              <a:gd name="T6" fmla="*/ 425 w 905"/>
              <a:gd name="T7" fmla="*/ 660 h 845"/>
              <a:gd name="T8" fmla="*/ 423 w 905"/>
              <a:gd name="T9" fmla="*/ 642 h 845"/>
              <a:gd name="T10" fmla="*/ 431 w 905"/>
              <a:gd name="T11" fmla="*/ 627 h 845"/>
              <a:gd name="T12" fmla="*/ 447 w 905"/>
              <a:gd name="T13" fmla="*/ 619 h 845"/>
              <a:gd name="T14" fmla="*/ 465 w 905"/>
              <a:gd name="T15" fmla="*/ 621 h 845"/>
              <a:gd name="T16" fmla="*/ 478 w 905"/>
              <a:gd name="T17" fmla="*/ 631 h 845"/>
              <a:gd name="T18" fmla="*/ 482 w 905"/>
              <a:gd name="T19" fmla="*/ 649 h 845"/>
              <a:gd name="T20" fmla="*/ 478 w 905"/>
              <a:gd name="T21" fmla="*/ 666 h 845"/>
              <a:gd name="T22" fmla="*/ 465 w 905"/>
              <a:gd name="T23" fmla="*/ 677 h 845"/>
              <a:gd name="T24" fmla="*/ 830 w 905"/>
              <a:gd name="T25" fmla="*/ 0 h 845"/>
              <a:gd name="T26" fmla="*/ 60 w 905"/>
              <a:gd name="T27" fmla="*/ 2 h 845"/>
              <a:gd name="T28" fmla="*/ 40 w 905"/>
              <a:gd name="T29" fmla="*/ 8 h 845"/>
              <a:gd name="T30" fmla="*/ 22 w 905"/>
              <a:gd name="T31" fmla="*/ 22 h 845"/>
              <a:gd name="T32" fmla="*/ 9 w 905"/>
              <a:gd name="T33" fmla="*/ 39 h 845"/>
              <a:gd name="T34" fmla="*/ 1 w 905"/>
              <a:gd name="T35" fmla="*/ 60 h 845"/>
              <a:gd name="T36" fmla="*/ 0 w 905"/>
              <a:gd name="T37" fmla="*/ 649 h 845"/>
              <a:gd name="T38" fmla="*/ 3 w 905"/>
              <a:gd name="T39" fmla="*/ 671 h 845"/>
              <a:gd name="T40" fmla="*/ 13 w 905"/>
              <a:gd name="T41" fmla="*/ 691 h 845"/>
              <a:gd name="T42" fmla="*/ 28 w 905"/>
              <a:gd name="T43" fmla="*/ 706 h 845"/>
              <a:gd name="T44" fmla="*/ 46 w 905"/>
              <a:gd name="T45" fmla="*/ 718 h 845"/>
              <a:gd name="T46" fmla="*/ 67 w 905"/>
              <a:gd name="T47" fmla="*/ 724 h 845"/>
              <a:gd name="T48" fmla="*/ 306 w 905"/>
              <a:gd name="T49" fmla="*/ 815 h 845"/>
              <a:gd name="T50" fmla="*/ 175 w 905"/>
              <a:gd name="T51" fmla="*/ 816 h 845"/>
              <a:gd name="T52" fmla="*/ 168 w 905"/>
              <a:gd name="T53" fmla="*/ 822 h 845"/>
              <a:gd name="T54" fmla="*/ 166 w 905"/>
              <a:gd name="T55" fmla="*/ 829 h 845"/>
              <a:gd name="T56" fmla="*/ 168 w 905"/>
              <a:gd name="T57" fmla="*/ 838 h 845"/>
              <a:gd name="T58" fmla="*/ 175 w 905"/>
              <a:gd name="T59" fmla="*/ 844 h 845"/>
              <a:gd name="T60" fmla="*/ 316 w 905"/>
              <a:gd name="T61" fmla="*/ 845 h 845"/>
              <a:gd name="T62" fmla="*/ 725 w 905"/>
              <a:gd name="T63" fmla="*/ 845 h 845"/>
              <a:gd name="T64" fmla="*/ 732 w 905"/>
              <a:gd name="T65" fmla="*/ 843 h 845"/>
              <a:gd name="T66" fmla="*/ 738 w 905"/>
              <a:gd name="T67" fmla="*/ 836 h 845"/>
              <a:gd name="T68" fmla="*/ 739 w 905"/>
              <a:gd name="T69" fmla="*/ 827 h 845"/>
              <a:gd name="T70" fmla="*/ 734 w 905"/>
              <a:gd name="T71" fmla="*/ 819 h 845"/>
              <a:gd name="T72" fmla="*/ 727 w 905"/>
              <a:gd name="T73" fmla="*/ 815 h 845"/>
              <a:gd name="T74" fmla="*/ 565 w 905"/>
              <a:gd name="T75" fmla="*/ 724 h 845"/>
              <a:gd name="T76" fmla="*/ 845 w 905"/>
              <a:gd name="T77" fmla="*/ 722 h 845"/>
              <a:gd name="T78" fmla="*/ 866 w 905"/>
              <a:gd name="T79" fmla="*/ 715 h 845"/>
              <a:gd name="T80" fmla="*/ 883 w 905"/>
              <a:gd name="T81" fmla="*/ 702 h 845"/>
              <a:gd name="T82" fmla="*/ 896 w 905"/>
              <a:gd name="T83" fmla="*/ 684 h 845"/>
              <a:gd name="T84" fmla="*/ 904 w 905"/>
              <a:gd name="T85" fmla="*/ 663 h 845"/>
              <a:gd name="T86" fmla="*/ 905 w 905"/>
              <a:gd name="T87" fmla="*/ 75 h 845"/>
              <a:gd name="T88" fmla="*/ 901 w 905"/>
              <a:gd name="T89" fmla="*/ 53 h 845"/>
              <a:gd name="T90" fmla="*/ 893 w 905"/>
              <a:gd name="T91" fmla="*/ 33 h 845"/>
              <a:gd name="T92" fmla="*/ 878 w 905"/>
              <a:gd name="T93" fmla="*/ 17 h 845"/>
              <a:gd name="T94" fmla="*/ 859 w 905"/>
              <a:gd name="T95" fmla="*/ 5 h 845"/>
              <a:gd name="T96" fmla="*/ 837 w 905"/>
              <a:gd name="T97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05" h="845">
                <a:moveTo>
                  <a:pt x="815" y="604"/>
                </a:moveTo>
                <a:lnTo>
                  <a:pt x="91" y="604"/>
                </a:lnTo>
                <a:lnTo>
                  <a:pt x="91" y="90"/>
                </a:lnTo>
                <a:lnTo>
                  <a:pt x="815" y="90"/>
                </a:lnTo>
                <a:lnTo>
                  <a:pt x="815" y="604"/>
                </a:lnTo>
                <a:close/>
                <a:moveTo>
                  <a:pt x="452" y="679"/>
                </a:moveTo>
                <a:lnTo>
                  <a:pt x="447" y="678"/>
                </a:lnTo>
                <a:lnTo>
                  <a:pt x="441" y="677"/>
                </a:lnTo>
                <a:lnTo>
                  <a:pt x="436" y="673"/>
                </a:lnTo>
                <a:lnTo>
                  <a:pt x="431" y="670"/>
                </a:lnTo>
                <a:lnTo>
                  <a:pt x="428" y="666"/>
                </a:lnTo>
                <a:lnTo>
                  <a:pt x="425" y="660"/>
                </a:lnTo>
                <a:lnTo>
                  <a:pt x="423" y="654"/>
                </a:lnTo>
                <a:lnTo>
                  <a:pt x="423" y="649"/>
                </a:lnTo>
                <a:lnTo>
                  <a:pt x="423" y="642"/>
                </a:lnTo>
                <a:lnTo>
                  <a:pt x="425" y="637"/>
                </a:lnTo>
                <a:lnTo>
                  <a:pt x="428" y="631"/>
                </a:lnTo>
                <a:lnTo>
                  <a:pt x="431" y="627"/>
                </a:lnTo>
                <a:lnTo>
                  <a:pt x="436" y="623"/>
                </a:lnTo>
                <a:lnTo>
                  <a:pt x="441" y="621"/>
                </a:lnTo>
                <a:lnTo>
                  <a:pt x="447" y="619"/>
                </a:lnTo>
                <a:lnTo>
                  <a:pt x="452" y="618"/>
                </a:lnTo>
                <a:lnTo>
                  <a:pt x="459" y="619"/>
                </a:lnTo>
                <a:lnTo>
                  <a:pt x="465" y="621"/>
                </a:lnTo>
                <a:lnTo>
                  <a:pt x="469" y="623"/>
                </a:lnTo>
                <a:lnTo>
                  <a:pt x="473" y="627"/>
                </a:lnTo>
                <a:lnTo>
                  <a:pt x="478" y="631"/>
                </a:lnTo>
                <a:lnTo>
                  <a:pt x="480" y="637"/>
                </a:lnTo>
                <a:lnTo>
                  <a:pt x="482" y="642"/>
                </a:lnTo>
                <a:lnTo>
                  <a:pt x="482" y="649"/>
                </a:lnTo>
                <a:lnTo>
                  <a:pt x="482" y="654"/>
                </a:lnTo>
                <a:lnTo>
                  <a:pt x="480" y="660"/>
                </a:lnTo>
                <a:lnTo>
                  <a:pt x="478" y="666"/>
                </a:lnTo>
                <a:lnTo>
                  <a:pt x="473" y="670"/>
                </a:lnTo>
                <a:lnTo>
                  <a:pt x="469" y="673"/>
                </a:lnTo>
                <a:lnTo>
                  <a:pt x="465" y="677"/>
                </a:lnTo>
                <a:lnTo>
                  <a:pt x="459" y="678"/>
                </a:lnTo>
                <a:lnTo>
                  <a:pt x="452" y="679"/>
                </a:lnTo>
                <a:close/>
                <a:moveTo>
                  <a:pt x="830" y="0"/>
                </a:moveTo>
                <a:lnTo>
                  <a:pt x="75" y="0"/>
                </a:lnTo>
                <a:lnTo>
                  <a:pt x="67" y="0"/>
                </a:lnTo>
                <a:lnTo>
                  <a:pt x="60" y="2"/>
                </a:lnTo>
                <a:lnTo>
                  <a:pt x="53" y="3"/>
                </a:lnTo>
                <a:lnTo>
                  <a:pt x="46" y="5"/>
                </a:lnTo>
                <a:lnTo>
                  <a:pt x="40" y="8"/>
                </a:lnTo>
                <a:lnTo>
                  <a:pt x="33" y="13"/>
                </a:lnTo>
                <a:lnTo>
                  <a:pt x="28" y="17"/>
                </a:lnTo>
                <a:lnTo>
                  <a:pt x="22" y="22"/>
                </a:lnTo>
                <a:lnTo>
                  <a:pt x="18" y="27"/>
                </a:lnTo>
                <a:lnTo>
                  <a:pt x="13" y="33"/>
                </a:lnTo>
                <a:lnTo>
                  <a:pt x="9" y="39"/>
                </a:lnTo>
                <a:lnTo>
                  <a:pt x="6" y="46"/>
                </a:lnTo>
                <a:lnTo>
                  <a:pt x="3" y="53"/>
                </a:lnTo>
                <a:lnTo>
                  <a:pt x="1" y="60"/>
                </a:lnTo>
                <a:lnTo>
                  <a:pt x="0" y="67"/>
                </a:lnTo>
                <a:lnTo>
                  <a:pt x="0" y="75"/>
                </a:lnTo>
                <a:lnTo>
                  <a:pt x="0" y="649"/>
                </a:lnTo>
                <a:lnTo>
                  <a:pt x="0" y="657"/>
                </a:lnTo>
                <a:lnTo>
                  <a:pt x="1" y="663"/>
                </a:lnTo>
                <a:lnTo>
                  <a:pt x="3" y="671"/>
                </a:lnTo>
                <a:lnTo>
                  <a:pt x="6" y="678"/>
                </a:lnTo>
                <a:lnTo>
                  <a:pt x="9" y="684"/>
                </a:lnTo>
                <a:lnTo>
                  <a:pt x="13" y="691"/>
                </a:lnTo>
                <a:lnTo>
                  <a:pt x="18" y="697"/>
                </a:lnTo>
                <a:lnTo>
                  <a:pt x="22" y="702"/>
                </a:lnTo>
                <a:lnTo>
                  <a:pt x="28" y="706"/>
                </a:lnTo>
                <a:lnTo>
                  <a:pt x="33" y="711"/>
                </a:lnTo>
                <a:lnTo>
                  <a:pt x="40" y="715"/>
                </a:lnTo>
                <a:lnTo>
                  <a:pt x="46" y="718"/>
                </a:lnTo>
                <a:lnTo>
                  <a:pt x="53" y="721"/>
                </a:lnTo>
                <a:lnTo>
                  <a:pt x="60" y="722"/>
                </a:lnTo>
                <a:lnTo>
                  <a:pt x="67" y="724"/>
                </a:lnTo>
                <a:lnTo>
                  <a:pt x="75" y="724"/>
                </a:lnTo>
                <a:lnTo>
                  <a:pt x="341" y="724"/>
                </a:lnTo>
                <a:lnTo>
                  <a:pt x="306" y="815"/>
                </a:lnTo>
                <a:lnTo>
                  <a:pt x="181" y="815"/>
                </a:lnTo>
                <a:lnTo>
                  <a:pt x="178" y="815"/>
                </a:lnTo>
                <a:lnTo>
                  <a:pt x="175" y="816"/>
                </a:lnTo>
                <a:lnTo>
                  <a:pt x="173" y="817"/>
                </a:lnTo>
                <a:lnTo>
                  <a:pt x="170" y="819"/>
                </a:lnTo>
                <a:lnTo>
                  <a:pt x="168" y="822"/>
                </a:lnTo>
                <a:lnTo>
                  <a:pt x="167" y="824"/>
                </a:lnTo>
                <a:lnTo>
                  <a:pt x="166" y="827"/>
                </a:lnTo>
                <a:lnTo>
                  <a:pt x="166" y="829"/>
                </a:lnTo>
                <a:lnTo>
                  <a:pt x="166" y="833"/>
                </a:lnTo>
                <a:lnTo>
                  <a:pt x="167" y="836"/>
                </a:lnTo>
                <a:lnTo>
                  <a:pt x="168" y="838"/>
                </a:lnTo>
                <a:lnTo>
                  <a:pt x="170" y="840"/>
                </a:lnTo>
                <a:lnTo>
                  <a:pt x="173" y="843"/>
                </a:lnTo>
                <a:lnTo>
                  <a:pt x="175" y="844"/>
                </a:lnTo>
                <a:lnTo>
                  <a:pt x="178" y="845"/>
                </a:lnTo>
                <a:lnTo>
                  <a:pt x="181" y="845"/>
                </a:lnTo>
                <a:lnTo>
                  <a:pt x="316" y="845"/>
                </a:lnTo>
                <a:lnTo>
                  <a:pt x="588" y="845"/>
                </a:lnTo>
                <a:lnTo>
                  <a:pt x="588" y="845"/>
                </a:lnTo>
                <a:lnTo>
                  <a:pt x="725" y="845"/>
                </a:lnTo>
                <a:lnTo>
                  <a:pt x="727" y="845"/>
                </a:lnTo>
                <a:lnTo>
                  <a:pt x="730" y="844"/>
                </a:lnTo>
                <a:lnTo>
                  <a:pt x="732" y="843"/>
                </a:lnTo>
                <a:lnTo>
                  <a:pt x="734" y="840"/>
                </a:lnTo>
                <a:lnTo>
                  <a:pt x="737" y="838"/>
                </a:lnTo>
                <a:lnTo>
                  <a:pt x="738" y="836"/>
                </a:lnTo>
                <a:lnTo>
                  <a:pt x="739" y="833"/>
                </a:lnTo>
                <a:lnTo>
                  <a:pt x="739" y="829"/>
                </a:lnTo>
                <a:lnTo>
                  <a:pt x="739" y="827"/>
                </a:lnTo>
                <a:lnTo>
                  <a:pt x="738" y="824"/>
                </a:lnTo>
                <a:lnTo>
                  <a:pt x="737" y="822"/>
                </a:lnTo>
                <a:lnTo>
                  <a:pt x="734" y="819"/>
                </a:lnTo>
                <a:lnTo>
                  <a:pt x="732" y="817"/>
                </a:lnTo>
                <a:lnTo>
                  <a:pt x="730" y="816"/>
                </a:lnTo>
                <a:lnTo>
                  <a:pt x="727" y="815"/>
                </a:lnTo>
                <a:lnTo>
                  <a:pt x="725" y="815"/>
                </a:lnTo>
                <a:lnTo>
                  <a:pt x="598" y="815"/>
                </a:lnTo>
                <a:lnTo>
                  <a:pt x="565" y="724"/>
                </a:lnTo>
                <a:lnTo>
                  <a:pt x="830" y="724"/>
                </a:lnTo>
                <a:lnTo>
                  <a:pt x="837" y="723"/>
                </a:lnTo>
                <a:lnTo>
                  <a:pt x="845" y="722"/>
                </a:lnTo>
                <a:lnTo>
                  <a:pt x="852" y="721"/>
                </a:lnTo>
                <a:lnTo>
                  <a:pt x="859" y="718"/>
                </a:lnTo>
                <a:lnTo>
                  <a:pt x="866" y="715"/>
                </a:lnTo>
                <a:lnTo>
                  <a:pt x="872" y="711"/>
                </a:lnTo>
                <a:lnTo>
                  <a:pt x="878" y="706"/>
                </a:lnTo>
                <a:lnTo>
                  <a:pt x="883" y="702"/>
                </a:lnTo>
                <a:lnTo>
                  <a:pt x="888" y="697"/>
                </a:lnTo>
                <a:lnTo>
                  <a:pt x="893" y="691"/>
                </a:lnTo>
                <a:lnTo>
                  <a:pt x="896" y="684"/>
                </a:lnTo>
                <a:lnTo>
                  <a:pt x="899" y="678"/>
                </a:lnTo>
                <a:lnTo>
                  <a:pt x="901" y="671"/>
                </a:lnTo>
                <a:lnTo>
                  <a:pt x="904" y="663"/>
                </a:lnTo>
                <a:lnTo>
                  <a:pt x="905" y="657"/>
                </a:lnTo>
                <a:lnTo>
                  <a:pt x="905" y="649"/>
                </a:lnTo>
                <a:lnTo>
                  <a:pt x="905" y="75"/>
                </a:lnTo>
                <a:lnTo>
                  <a:pt x="905" y="67"/>
                </a:lnTo>
                <a:lnTo>
                  <a:pt x="904" y="60"/>
                </a:lnTo>
                <a:lnTo>
                  <a:pt x="901" y="53"/>
                </a:lnTo>
                <a:lnTo>
                  <a:pt x="899" y="46"/>
                </a:lnTo>
                <a:lnTo>
                  <a:pt x="896" y="39"/>
                </a:lnTo>
                <a:lnTo>
                  <a:pt x="893" y="33"/>
                </a:lnTo>
                <a:lnTo>
                  <a:pt x="888" y="27"/>
                </a:lnTo>
                <a:lnTo>
                  <a:pt x="883" y="22"/>
                </a:lnTo>
                <a:lnTo>
                  <a:pt x="878" y="17"/>
                </a:lnTo>
                <a:lnTo>
                  <a:pt x="872" y="13"/>
                </a:lnTo>
                <a:lnTo>
                  <a:pt x="866" y="8"/>
                </a:lnTo>
                <a:lnTo>
                  <a:pt x="859" y="5"/>
                </a:lnTo>
                <a:lnTo>
                  <a:pt x="852" y="3"/>
                </a:lnTo>
                <a:lnTo>
                  <a:pt x="845" y="2"/>
                </a:lnTo>
                <a:lnTo>
                  <a:pt x="837" y="0"/>
                </a:lnTo>
                <a:lnTo>
                  <a:pt x="830" y="0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Text Placeholder 2"/>
          <p:cNvSpPr txBox="1">
            <a:spLocks/>
          </p:cNvSpPr>
          <p:nvPr/>
        </p:nvSpPr>
        <p:spPr>
          <a:xfrm>
            <a:off x="1495634" y="2009780"/>
            <a:ext cx="4308926" cy="631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likas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Reading Novel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lengkap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ngan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berap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tur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ambah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vori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gan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profile dan mode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baca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4C46B7-93A8-6E17-A850-30B9FC58FE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352" t="2988" r="61780" b="17270"/>
          <a:stretch/>
        </p:blipFill>
        <p:spPr>
          <a:xfrm>
            <a:off x="6625628" y="353236"/>
            <a:ext cx="2191200" cy="37995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407D536-D29F-E353-3152-39C8704905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352" t="-916" r="61780" b="16523"/>
          <a:stretch/>
        </p:blipFill>
        <p:spPr>
          <a:xfrm>
            <a:off x="9115757" y="258183"/>
            <a:ext cx="2145421" cy="393710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7EE9B5F-3801-75DD-651F-E89E5E3B5806}"/>
              </a:ext>
            </a:extLst>
          </p:cNvPr>
          <p:cNvGrpSpPr/>
          <p:nvPr/>
        </p:nvGrpSpPr>
        <p:grpSpPr>
          <a:xfrm>
            <a:off x="4886683" y="5529118"/>
            <a:ext cx="285750" cy="225425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5" name="Freeform 3677">
              <a:extLst>
                <a:ext uri="{FF2B5EF4-FFF2-40B4-BE49-F238E27FC236}">
                  <a16:creationId xmlns:a16="http://schemas.microsoft.com/office/drawing/2014/main" id="{DFEF9E84-B0F8-0454-5B0F-FE3A34DE7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3678">
              <a:extLst>
                <a:ext uri="{FF2B5EF4-FFF2-40B4-BE49-F238E27FC236}">
                  <a16:creationId xmlns:a16="http://schemas.microsoft.com/office/drawing/2014/main" id="{A0CFB1BA-4FE4-113D-F3C7-6C622E56C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73612236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4" name="Freeform 13">
            <a:extLst>
              <a:ext uri="{FF2B5EF4-FFF2-40B4-BE49-F238E27FC236}">
                <a16:creationId xmlns:a16="http://schemas.microsoft.com/office/drawing/2014/main" id="{0104CAE6-1265-C366-832D-B5859341A77D}"/>
              </a:ext>
            </a:extLst>
          </p:cNvPr>
          <p:cNvSpPr>
            <a:spLocks/>
          </p:cNvSpPr>
          <p:nvPr/>
        </p:nvSpPr>
        <p:spPr bwMode="auto">
          <a:xfrm>
            <a:off x="8030367" y="2403881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0" y="0"/>
            <a:ext cx="12192000" cy="2210338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Rectangle 48"/>
          <p:cNvSpPr>
            <a:spLocks noChangeArrowheads="1"/>
          </p:cNvSpPr>
          <p:nvPr/>
        </p:nvSpPr>
        <p:spPr bwMode="auto">
          <a:xfrm>
            <a:off x="3110" y="1563362"/>
            <a:ext cx="12188890" cy="5294638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15" name="Group 114"/>
          <p:cNvGrpSpPr/>
          <p:nvPr/>
        </p:nvGrpSpPr>
        <p:grpSpPr>
          <a:xfrm flipV="1">
            <a:off x="3356769" y="4038416"/>
            <a:ext cx="7300913" cy="189920"/>
            <a:chOff x="1535112" y="4005286"/>
            <a:chExt cx="7300913" cy="189920"/>
          </a:xfrm>
        </p:grpSpPr>
        <p:cxnSp>
          <p:nvCxnSpPr>
            <p:cNvPr id="116" name="Straight Connector 115"/>
            <p:cNvCxnSpPr/>
            <p:nvPr/>
          </p:nvCxnSpPr>
          <p:spPr>
            <a:xfrm>
              <a:off x="1535112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/>
          </p:nvCxnSpPr>
          <p:spPr>
            <a:xfrm>
              <a:off x="5186363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8836025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Freeform 7"/>
          <p:cNvSpPr>
            <a:spLocks/>
          </p:cNvSpPr>
          <p:nvPr/>
        </p:nvSpPr>
        <p:spPr bwMode="auto">
          <a:xfrm>
            <a:off x="10781752" y="73439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8"/>
          <p:cNvSpPr>
            <a:spLocks/>
          </p:cNvSpPr>
          <p:nvPr/>
        </p:nvSpPr>
        <p:spPr bwMode="auto">
          <a:xfrm>
            <a:off x="8212883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9"/>
          <p:cNvSpPr>
            <a:spLocks/>
          </p:cNvSpPr>
          <p:nvPr/>
        </p:nvSpPr>
        <p:spPr bwMode="auto">
          <a:xfrm>
            <a:off x="9427288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3"/>
          <p:cNvSpPr>
            <a:spLocks/>
          </p:cNvSpPr>
          <p:nvPr/>
        </p:nvSpPr>
        <p:spPr bwMode="auto">
          <a:xfrm>
            <a:off x="11273234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4"/>
          <p:cNvSpPr>
            <a:spLocks/>
          </p:cNvSpPr>
          <p:nvPr/>
        </p:nvSpPr>
        <p:spPr bwMode="auto">
          <a:xfrm>
            <a:off x="9171688" y="1308385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15"/>
          <p:cNvSpPr>
            <a:spLocks/>
          </p:cNvSpPr>
          <p:nvPr/>
        </p:nvSpPr>
        <p:spPr bwMode="auto">
          <a:xfrm>
            <a:off x="8983352" y="1397171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8"/>
          <p:cNvSpPr>
            <a:spLocks/>
          </p:cNvSpPr>
          <p:nvPr/>
        </p:nvSpPr>
        <p:spPr bwMode="auto">
          <a:xfrm>
            <a:off x="-28325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9"/>
          <p:cNvSpPr>
            <a:spLocks/>
          </p:cNvSpPr>
          <p:nvPr/>
        </p:nvSpPr>
        <p:spPr bwMode="auto">
          <a:xfrm>
            <a:off x="-992576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3"/>
          <p:cNvSpPr>
            <a:spLocks/>
          </p:cNvSpPr>
          <p:nvPr/>
        </p:nvSpPr>
        <p:spPr bwMode="auto">
          <a:xfrm>
            <a:off x="853370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51"/>
          <p:cNvSpPr>
            <a:spLocks/>
          </p:cNvSpPr>
          <p:nvPr/>
        </p:nvSpPr>
        <p:spPr bwMode="auto">
          <a:xfrm>
            <a:off x="-663933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51"/>
          <p:cNvSpPr>
            <a:spLocks/>
          </p:cNvSpPr>
          <p:nvPr/>
        </p:nvSpPr>
        <p:spPr bwMode="auto">
          <a:xfrm>
            <a:off x="9763778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51"/>
          <p:cNvSpPr>
            <a:spLocks/>
          </p:cNvSpPr>
          <p:nvPr/>
        </p:nvSpPr>
        <p:spPr bwMode="auto">
          <a:xfrm>
            <a:off x="8616906" y="1563000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51"/>
          <p:cNvSpPr>
            <a:spLocks/>
          </p:cNvSpPr>
          <p:nvPr/>
        </p:nvSpPr>
        <p:spPr bwMode="auto">
          <a:xfrm>
            <a:off x="10959405" y="1562999"/>
            <a:ext cx="3630126" cy="1802913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51"/>
          <p:cNvSpPr>
            <a:spLocks/>
          </p:cNvSpPr>
          <p:nvPr/>
        </p:nvSpPr>
        <p:spPr bwMode="auto">
          <a:xfrm>
            <a:off x="11360415" y="1563000"/>
            <a:ext cx="536540" cy="266474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3273823" y="219072"/>
            <a:ext cx="8462323" cy="1151539"/>
            <a:chOff x="3273823" y="-1579979"/>
            <a:chExt cx="8462323" cy="1151539"/>
          </a:xfrm>
        </p:grpSpPr>
        <p:sp>
          <p:nvSpPr>
            <p:cNvPr id="38" name="Oval 58"/>
            <p:cNvSpPr>
              <a:spLocks noChangeArrowheads="1"/>
            </p:cNvSpPr>
            <p:nvPr/>
          </p:nvSpPr>
          <p:spPr bwMode="auto">
            <a:xfrm>
              <a:off x="5450338" y="-50242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59"/>
            <p:cNvSpPr>
              <a:spLocks noChangeArrowheads="1"/>
            </p:cNvSpPr>
            <p:nvPr/>
          </p:nvSpPr>
          <p:spPr bwMode="auto">
            <a:xfrm>
              <a:off x="8782823" y="-1505282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60"/>
            <p:cNvSpPr>
              <a:spLocks noChangeArrowheads="1"/>
            </p:cNvSpPr>
            <p:nvPr/>
          </p:nvSpPr>
          <p:spPr bwMode="auto">
            <a:xfrm>
              <a:off x="6211676" y="-55758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61"/>
            <p:cNvSpPr>
              <a:spLocks noChangeArrowheads="1"/>
            </p:cNvSpPr>
            <p:nvPr/>
          </p:nvSpPr>
          <p:spPr bwMode="auto">
            <a:xfrm>
              <a:off x="3744983" y="-92846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62"/>
            <p:cNvSpPr>
              <a:spLocks noChangeArrowheads="1"/>
            </p:cNvSpPr>
            <p:nvPr/>
          </p:nvSpPr>
          <p:spPr bwMode="auto">
            <a:xfrm>
              <a:off x="4880380" y="-8965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63"/>
            <p:cNvSpPr>
              <a:spLocks noChangeArrowheads="1"/>
            </p:cNvSpPr>
            <p:nvPr/>
          </p:nvSpPr>
          <p:spPr bwMode="auto">
            <a:xfrm>
              <a:off x="6848490" y="-1103758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64"/>
            <p:cNvSpPr>
              <a:spLocks noChangeArrowheads="1"/>
            </p:cNvSpPr>
            <p:nvPr/>
          </p:nvSpPr>
          <p:spPr bwMode="auto">
            <a:xfrm>
              <a:off x="6277220" y="-10882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65"/>
            <p:cNvSpPr>
              <a:spLocks noChangeArrowheads="1"/>
            </p:cNvSpPr>
            <p:nvPr/>
          </p:nvSpPr>
          <p:spPr bwMode="auto">
            <a:xfrm>
              <a:off x="8325596" y="-618564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66"/>
            <p:cNvSpPr>
              <a:spLocks noChangeArrowheads="1"/>
            </p:cNvSpPr>
            <p:nvPr/>
          </p:nvSpPr>
          <p:spPr bwMode="auto">
            <a:xfrm>
              <a:off x="4670520" y="-12973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67"/>
            <p:cNvSpPr>
              <a:spLocks noChangeArrowheads="1"/>
            </p:cNvSpPr>
            <p:nvPr/>
          </p:nvSpPr>
          <p:spPr bwMode="auto">
            <a:xfrm>
              <a:off x="4361279" y="-56343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68"/>
            <p:cNvSpPr>
              <a:spLocks noChangeArrowheads="1"/>
            </p:cNvSpPr>
            <p:nvPr/>
          </p:nvSpPr>
          <p:spPr bwMode="auto">
            <a:xfrm>
              <a:off x="9297913" y="-856961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69"/>
            <p:cNvSpPr>
              <a:spLocks noChangeArrowheads="1"/>
            </p:cNvSpPr>
            <p:nvPr/>
          </p:nvSpPr>
          <p:spPr bwMode="auto">
            <a:xfrm>
              <a:off x="11127922" y="-100184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70"/>
            <p:cNvSpPr>
              <a:spLocks noChangeArrowheads="1"/>
            </p:cNvSpPr>
            <p:nvPr/>
          </p:nvSpPr>
          <p:spPr bwMode="auto">
            <a:xfrm>
              <a:off x="10705680" y="-1528630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71"/>
            <p:cNvSpPr>
              <a:spLocks noChangeArrowheads="1"/>
            </p:cNvSpPr>
            <p:nvPr/>
          </p:nvSpPr>
          <p:spPr bwMode="auto">
            <a:xfrm>
              <a:off x="7440402" y="-68672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72"/>
            <p:cNvSpPr>
              <a:spLocks noChangeArrowheads="1"/>
            </p:cNvSpPr>
            <p:nvPr/>
          </p:nvSpPr>
          <p:spPr bwMode="auto">
            <a:xfrm>
              <a:off x="7380314" y="-1098865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73"/>
            <p:cNvSpPr>
              <a:spLocks noChangeArrowheads="1"/>
            </p:cNvSpPr>
            <p:nvPr/>
          </p:nvSpPr>
          <p:spPr bwMode="auto">
            <a:xfrm>
              <a:off x="3273823" y="-129922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74"/>
            <p:cNvSpPr>
              <a:spLocks noChangeArrowheads="1"/>
            </p:cNvSpPr>
            <p:nvPr/>
          </p:nvSpPr>
          <p:spPr bwMode="auto">
            <a:xfrm>
              <a:off x="5818023" y="-157997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75"/>
            <p:cNvSpPr>
              <a:spLocks noChangeArrowheads="1"/>
            </p:cNvSpPr>
            <p:nvPr/>
          </p:nvSpPr>
          <p:spPr bwMode="auto">
            <a:xfrm>
              <a:off x="6956110" y="-8965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76"/>
            <p:cNvSpPr>
              <a:spLocks noChangeArrowheads="1"/>
            </p:cNvSpPr>
            <p:nvPr/>
          </p:nvSpPr>
          <p:spPr bwMode="auto">
            <a:xfrm>
              <a:off x="11662157" y="-1286484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77"/>
            <p:cNvSpPr>
              <a:spLocks noChangeArrowheads="1"/>
            </p:cNvSpPr>
            <p:nvPr/>
          </p:nvSpPr>
          <p:spPr bwMode="auto">
            <a:xfrm>
              <a:off x="9845429" y="-899050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78"/>
            <p:cNvSpPr>
              <a:spLocks noChangeArrowheads="1"/>
            </p:cNvSpPr>
            <p:nvPr/>
          </p:nvSpPr>
          <p:spPr bwMode="auto">
            <a:xfrm>
              <a:off x="10735070" y="-823945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79"/>
            <p:cNvSpPr>
              <a:spLocks noChangeArrowheads="1"/>
            </p:cNvSpPr>
            <p:nvPr/>
          </p:nvSpPr>
          <p:spPr bwMode="auto">
            <a:xfrm>
              <a:off x="8007945" y="-1393167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826809" y="589490"/>
            <a:ext cx="5079789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Tools yang digunakan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1690688" y="3356792"/>
            <a:ext cx="1339850" cy="1346200"/>
          </a:xfrm>
          <a:custGeom>
            <a:avLst/>
            <a:gdLst>
              <a:gd name="T0" fmla="*/ 499 w 844"/>
              <a:gd name="T1" fmla="*/ 424 h 848"/>
              <a:gd name="T2" fmla="*/ 388 w 844"/>
              <a:gd name="T3" fmla="*/ 0 h 848"/>
              <a:gd name="T4" fmla="*/ 194 w 844"/>
              <a:gd name="T5" fmla="*/ 195 h 848"/>
              <a:gd name="T6" fmla="*/ 0 w 844"/>
              <a:gd name="T7" fmla="*/ 389 h 848"/>
              <a:gd name="T8" fmla="*/ 423 w 844"/>
              <a:gd name="T9" fmla="*/ 500 h 848"/>
              <a:gd name="T10" fmla="*/ 610 w 844"/>
              <a:gd name="T11" fmla="*/ 848 h 848"/>
              <a:gd name="T12" fmla="*/ 728 w 844"/>
              <a:gd name="T13" fmla="*/ 730 h 848"/>
              <a:gd name="T14" fmla="*/ 844 w 844"/>
              <a:gd name="T15" fmla="*/ 612 h 848"/>
              <a:gd name="T16" fmla="*/ 499 w 844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4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3" y="500"/>
                </a:lnTo>
                <a:lnTo>
                  <a:pt x="610" y="848"/>
                </a:lnTo>
                <a:lnTo>
                  <a:pt x="728" y="730"/>
                </a:lnTo>
                <a:lnTo>
                  <a:pt x="844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730250" y="2397942"/>
            <a:ext cx="1609725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7"/>
          <p:cNvSpPr>
            <a:spLocks/>
          </p:cNvSpPr>
          <p:nvPr/>
        </p:nvSpPr>
        <p:spPr bwMode="auto">
          <a:xfrm>
            <a:off x="730250" y="2397942"/>
            <a:ext cx="1609725" cy="1609725"/>
          </a:xfrm>
          <a:custGeom>
            <a:avLst/>
            <a:gdLst>
              <a:gd name="T0" fmla="*/ 1014 w 1014"/>
              <a:gd name="T1" fmla="*/ 507 h 1014"/>
              <a:gd name="T2" fmla="*/ 508 w 1014"/>
              <a:gd name="T3" fmla="*/ 1014 h 1014"/>
              <a:gd name="T4" fmla="*/ 0 w 1014"/>
              <a:gd name="T5" fmla="*/ 507 h 1014"/>
              <a:gd name="T6" fmla="*/ 508 w 1014"/>
              <a:gd name="T7" fmla="*/ 0 h 1014"/>
              <a:gd name="T8" fmla="*/ 1014 w 1014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" h="1014">
                <a:moveTo>
                  <a:pt x="1014" y="507"/>
                </a:moveTo>
                <a:lnTo>
                  <a:pt x="508" y="1014"/>
                </a:lnTo>
                <a:lnTo>
                  <a:pt x="0" y="507"/>
                </a:lnTo>
                <a:lnTo>
                  <a:pt x="508" y="0"/>
                </a:lnTo>
                <a:lnTo>
                  <a:pt x="1014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" name="Freeform 10"/>
          <p:cNvSpPr>
            <a:spLocks/>
          </p:cNvSpPr>
          <p:nvPr/>
        </p:nvSpPr>
        <p:spPr bwMode="auto">
          <a:xfrm>
            <a:off x="3687763" y="3356792"/>
            <a:ext cx="1344613" cy="1346200"/>
          </a:xfrm>
          <a:custGeom>
            <a:avLst/>
            <a:gdLst>
              <a:gd name="T0" fmla="*/ 348 w 847"/>
              <a:gd name="T1" fmla="*/ 424 h 848"/>
              <a:gd name="T2" fmla="*/ 459 w 847"/>
              <a:gd name="T3" fmla="*/ 0 h 848"/>
              <a:gd name="T4" fmla="*/ 653 w 847"/>
              <a:gd name="T5" fmla="*/ 195 h 848"/>
              <a:gd name="T6" fmla="*/ 847 w 847"/>
              <a:gd name="T7" fmla="*/ 389 h 848"/>
              <a:gd name="T8" fmla="*/ 423 w 847"/>
              <a:gd name="T9" fmla="*/ 500 h 848"/>
              <a:gd name="T10" fmla="*/ 234 w 847"/>
              <a:gd name="T11" fmla="*/ 848 h 848"/>
              <a:gd name="T12" fmla="*/ 118 w 847"/>
              <a:gd name="T13" fmla="*/ 730 h 848"/>
              <a:gd name="T14" fmla="*/ 0 w 847"/>
              <a:gd name="T15" fmla="*/ 612 h 848"/>
              <a:gd name="T16" fmla="*/ 348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348" y="424"/>
                </a:moveTo>
                <a:lnTo>
                  <a:pt x="459" y="0"/>
                </a:lnTo>
                <a:lnTo>
                  <a:pt x="653" y="195"/>
                </a:lnTo>
                <a:lnTo>
                  <a:pt x="847" y="389"/>
                </a:lnTo>
                <a:lnTo>
                  <a:pt x="423" y="500"/>
                </a:lnTo>
                <a:lnTo>
                  <a:pt x="234" y="848"/>
                </a:lnTo>
                <a:lnTo>
                  <a:pt x="118" y="730"/>
                </a:lnTo>
                <a:lnTo>
                  <a:pt x="0" y="612"/>
                </a:lnTo>
                <a:lnTo>
                  <a:pt x="348" y="424"/>
                </a:lnTo>
                <a:close/>
              </a:path>
            </a:pathLst>
          </a:custGeom>
          <a:gradFill flip="none" rotWithShape="1">
            <a:gsLst>
              <a:gs pos="51000">
                <a:srgbClr val="69AFC0"/>
              </a:gs>
              <a:gs pos="0">
                <a:srgbClr val="125680"/>
              </a:gs>
              <a:gs pos="96000">
                <a:srgbClr val="125680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1"/>
          <p:cNvSpPr>
            <a:spLocks/>
          </p:cNvSpPr>
          <p:nvPr/>
        </p:nvSpPr>
        <p:spPr bwMode="auto">
          <a:xfrm>
            <a:off x="5338763" y="3356792"/>
            <a:ext cx="1344613" cy="1346200"/>
          </a:xfrm>
          <a:custGeom>
            <a:avLst/>
            <a:gdLst>
              <a:gd name="T0" fmla="*/ 499 w 847"/>
              <a:gd name="T1" fmla="*/ 424 h 848"/>
              <a:gd name="T2" fmla="*/ 388 w 847"/>
              <a:gd name="T3" fmla="*/ 0 h 848"/>
              <a:gd name="T4" fmla="*/ 194 w 847"/>
              <a:gd name="T5" fmla="*/ 195 h 848"/>
              <a:gd name="T6" fmla="*/ 0 w 847"/>
              <a:gd name="T7" fmla="*/ 389 h 848"/>
              <a:gd name="T8" fmla="*/ 424 w 847"/>
              <a:gd name="T9" fmla="*/ 500 h 848"/>
              <a:gd name="T10" fmla="*/ 613 w 847"/>
              <a:gd name="T11" fmla="*/ 848 h 848"/>
              <a:gd name="T12" fmla="*/ 729 w 847"/>
              <a:gd name="T13" fmla="*/ 730 h 848"/>
              <a:gd name="T14" fmla="*/ 847 w 847"/>
              <a:gd name="T15" fmla="*/ 612 h 848"/>
              <a:gd name="T16" fmla="*/ 499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4" y="500"/>
                </a:lnTo>
                <a:lnTo>
                  <a:pt x="613" y="848"/>
                </a:lnTo>
                <a:lnTo>
                  <a:pt x="729" y="730"/>
                </a:lnTo>
                <a:lnTo>
                  <a:pt x="847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4383088" y="2397942"/>
            <a:ext cx="1606550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>
            <a:off x="4383088" y="23979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 19"/>
          <p:cNvSpPr>
            <a:spLocks/>
          </p:cNvSpPr>
          <p:nvPr/>
        </p:nvSpPr>
        <p:spPr bwMode="auto">
          <a:xfrm>
            <a:off x="8991600" y="3356792"/>
            <a:ext cx="1339850" cy="1346200"/>
          </a:xfrm>
          <a:custGeom>
            <a:avLst/>
            <a:gdLst>
              <a:gd name="T0" fmla="*/ 499 w 844"/>
              <a:gd name="T1" fmla="*/ 424 h 848"/>
              <a:gd name="T2" fmla="*/ 388 w 844"/>
              <a:gd name="T3" fmla="*/ 0 h 848"/>
              <a:gd name="T4" fmla="*/ 194 w 844"/>
              <a:gd name="T5" fmla="*/ 195 h 848"/>
              <a:gd name="T6" fmla="*/ 0 w 844"/>
              <a:gd name="T7" fmla="*/ 389 h 848"/>
              <a:gd name="T8" fmla="*/ 423 w 844"/>
              <a:gd name="T9" fmla="*/ 500 h 848"/>
              <a:gd name="T10" fmla="*/ 610 w 844"/>
              <a:gd name="T11" fmla="*/ 848 h 848"/>
              <a:gd name="T12" fmla="*/ 728 w 844"/>
              <a:gd name="T13" fmla="*/ 730 h 848"/>
              <a:gd name="T14" fmla="*/ 844 w 844"/>
              <a:gd name="T15" fmla="*/ 612 h 848"/>
              <a:gd name="T16" fmla="*/ 499 w 844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4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3" y="500"/>
                </a:lnTo>
                <a:lnTo>
                  <a:pt x="610" y="848"/>
                </a:lnTo>
                <a:lnTo>
                  <a:pt x="728" y="730"/>
                </a:lnTo>
                <a:lnTo>
                  <a:pt x="844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Oval 15"/>
          <p:cNvSpPr>
            <a:spLocks noChangeArrowheads="1"/>
          </p:cNvSpPr>
          <p:nvPr/>
        </p:nvSpPr>
        <p:spPr bwMode="auto">
          <a:xfrm>
            <a:off x="8031163" y="2397942"/>
            <a:ext cx="1609725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Oval 17"/>
          <p:cNvSpPr>
            <a:spLocks noChangeArrowheads="1"/>
          </p:cNvSpPr>
          <p:nvPr/>
        </p:nvSpPr>
        <p:spPr bwMode="auto">
          <a:xfrm>
            <a:off x="6207125" y="4226742"/>
            <a:ext cx="1606550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8"/>
          <p:cNvSpPr>
            <a:spLocks/>
          </p:cNvSpPr>
          <p:nvPr/>
        </p:nvSpPr>
        <p:spPr bwMode="auto">
          <a:xfrm>
            <a:off x="6207125" y="42267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Oval 20"/>
          <p:cNvSpPr>
            <a:spLocks noChangeArrowheads="1"/>
          </p:cNvSpPr>
          <p:nvPr/>
        </p:nvSpPr>
        <p:spPr bwMode="auto">
          <a:xfrm>
            <a:off x="9855200" y="4226742"/>
            <a:ext cx="1609725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21"/>
          <p:cNvSpPr>
            <a:spLocks/>
          </p:cNvSpPr>
          <p:nvPr/>
        </p:nvSpPr>
        <p:spPr bwMode="auto">
          <a:xfrm>
            <a:off x="9855200" y="4226742"/>
            <a:ext cx="1609725" cy="1609725"/>
          </a:xfrm>
          <a:custGeom>
            <a:avLst/>
            <a:gdLst>
              <a:gd name="T0" fmla="*/ 1014 w 1014"/>
              <a:gd name="T1" fmla="*/ 507 h 1014"/>
              <a:gd name="T2" fmla="*/ 508 w 1014"/>
              <a:gd name="T3" fmla="*/ 1014 h 1014"/>
              <a:gd name="T4" fmla="*/ 0 w 1014"/>
              <a:gd name="T5" fmla="*/ 507 h 1014"/>
              <a:gd name="T6" fmla="*/ 508 w 1014"/>
              <a:gd name="T7" fmla="*/ 0 h 1014"/>
              <a:gd name="T8" fmla="*/ 1014 w 1014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" h="1014">
                <a:moveTo>
                  <a:pt x="1014" y="507"/>
                </a:moveTo>
                <a:lnTo>
                  <a:pt x="508" y="1014"/>
                </a:lnTo>
                <a:lnTo>
                  <a:pt x="0" y="507"/>
                </a:lnTo>
                <a:lnTo>
                  <a:pt x="508" y="0"/>
                </a:lnTo>
                <a:lnTo>
                  <a:pt x="1014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auto">
          <a:xfrm>
            <a:off x="2557463" y="4226742"/>
            <a:ext cx="1606550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9"/>
          <p:cNvSpPr>
            <a:spLocks/>
          </p:cNvSpPr>
          <p:nvPr/>
        </p:nvSpPr>
        <p:spPr bwMode="auto">
          <a:xfrm>
            <a:off x="2557463" y="42267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7" name="Group 66"/>
          <p:cNvGrpSpPr/>
          <p:nvPr/>
        </p:nvGrpSpPr>
        <p:grpSpPr>
          <a:xfrm>
            <a:off x="3082577" y="4838700"/>
            <a:ext cx="556322" cy="512808"/>
            <a:chOff x="4313201" y="1920875"/>
            <a:chExt cx="284163" cy="261938"/>
          </a:xfrm>
          <a:solidFill>
            <a:schemeClr val="bg1"/>
          </a:solidFill>
          <a:effectLst/>
        </p:grpSpPr>
        <p:sp>
          <p:nvSpPr>
            <p:cNvPr id="68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4914857" y="2988617"/>
            <a:ext cx="543012" cy="428374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71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6780961" y="4767091"/>
            <a:ext cx="458878" cy="529026"/>
            <a:chOff x="896938" y="1943100"/>
            <a:chExt cx="249237" cy="287338"/>
          </a:xfrm>
          <a:solidFill>
            <a:schemeClr val="bg1"/>
          </a:solidFill>
          <a:effectLst/>
        </p:grpSpPr>
        <p:sp>
          <p:nvSpPr>
            <p:cNvPr id="74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5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Text Placeholder 2"/>
          <p:cNvSpPr txBox="1">
            <a:spLocks/>
          </p:cNvSpPr>
          <p:nvPr/>
        </p:nvSpPr>
        <p:spPr>
          <a:xfrm>
            <a:off x="730249" y="4369921"/>
            <a:ext cx="16076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go_dart</a:t>
            </a:r>
            <a:endParaRPr lang="en-US" sz="1600" dirty="0">
              <a:solidFill>
                <a:srgbClr val="B0F7F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1" name="Text Placeholder 2"/>
          <p:cNvSpPr txBox="1">
            <a:spLocks/>
          </p:cNvSpPr>
          <p:nvPr/>
        </p:nvSpPr>
        <p:spPr>
          <a:xfrm>
            <a:off x="730249" y="4746425"/>
            <a:ext cx="1609725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ckage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ambil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r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base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ngodb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2" name="Text Placeholder 2"/>
          <p:cNvSpPr txBox="1">
            <a:spLocks/>
          </p:cNvSpPr>
          <p:nvPr/>
        </p:nvSpPr>
        <p:spPr>
          <a:xfrm>
            <a:off x="4381941" y="4369921"/>
            <a:ext cx="16076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ive</a:t>
            </a:r>
          </a:p>
        </p:txBody>
      </p:sp>
      <p:sp>
        <p:nvSpPr>
          <p:cNvPr id="93" name="Text Placeholder 2"/>
          <p:cNvSpPr txBox="1">
            <a:spLocks/>
          </p:cNvSpPr>
          <p:nvPr/>
        </p:nvSpPr>
        <p:spPr>
          <a:xfrm>
            <a:off x="4379913" y="4746425"/>
            <a:ext cx="1609725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ocal storage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ng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n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pa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t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isa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yimp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nyak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dengan simple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dak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QL</a:t>
            </a:r>
          </a:p>
        </p:txBody>
      </p:sp>
      <p:sp>
        <p:nvSpPr>
          <p:cNvPr id="94" name="Text Placeholder 2"/>
          <p:cNvSpPr txBox="1">
            <a:spLocks/>
          </p:cNvSpPr>
          <p:nvPr/>
        </p:nvSpPr>
        <p:spPr>
          <a:xfrm>
            <a:off x="7930479" y="4369920"/>
            <a:ext cx="173787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isual Studio Code</a:t>
            </a:r>
          </a:p>
        </p:txBody>
      </p:sp>
      <p:sp>
        <p:nvSpPr>
          <p:cNvPr id="95" name="Text Placeholder 2"/>
          <p:cNvSpPr txBox="1">
            <a:spLocks/>
          </p:cNvSpPr>
          <p:nvPr/>
        </p:nvSpPr>
        <p:spPr>
          <a:xfrm>
            <a:off x="8031163" y="4746425"/>
            <a:ext cx="1609725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de editor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edi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ngan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pat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57613" y="2397942"/>
            <a:ext cx="9292354" cy="1443229"/>
            <a:chOff x="2357613" y="2425291"/>
            <a:chExt cx="9292354" cy="1443229"/>
          </a:xfrm>
        </p:grpSpPr>
        <p:sp>
          <p:nvSpPr>
            <p:cNvPr id="96" name="Text Placeholder 2"/>
            <p:cNvSpPr txBox="1">
              <a:spLocks/>
            </p:cNvSpPr>
            <p:nvPr/>
          </p:nvSpPr>
          <p:spPr>
            <a:xfrm>
              <a:off x="2357613" y="2527209"/>
              <a:ext cx="1877607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400" dirty="0" err="1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urved_Navigation_Bar</a:t>
              </a:r>
              <a:endPara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7" name="Text Placeholder 2"/>
            <p:cNvSpPr txBox="1">
              <a:spLocks/>
            </p:cNvSpPr>
            <p:nvPr/>
          </p:nvSpPr>
          <p:spPr>
            <a:xfrm>
              <a:off x="2554288" y="2801048"/>
              <a:ext cx="1609725" cy="6314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buah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imas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bottom navigation untuk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gant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creen </a:t>
              </a:r>
            </a:p>
          </p:txBody>
        </p:sp>
        <p:sp>
          <p:nvSpPr>
            <p:cNvPr id="98" name="Text Placeholder 2"/>
            <p:cNvSpPr txBox="1">
              <a:spLocks/>
            </p:cNvSpPr>
            <p:nvPr/>
          </p:nvSpPr>
          <p:spPr>
            <a:xfrm>
              <a:off x="6205978" y="2425291"/>
              <a:ext cx="160769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vider</a:t>
              </a:r>
            </a:p>
          </p:txBody>
        </p:sp>
        <p:sp>
          <p:nvSpPr>
            <p:cNvPr id="99" name="Text Placeholder 2"/>
            <p:cNvSpPr txBox="1">
              <a:spLocks/>
            </p:cNvSpPr>
            <p:nvPr/>
          </p:nvSpPr>
          <p:spPr>
            <a:xfrm>
              <a:off x="6203950" y="2801048"/>
              <a:ext cx="1609725" cy="106747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sv-SE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rovider menyediakan sebuah teknik mengolah state yang dapat digunakan memanage data didalam aplikasi.</a:t>
              </a:r>
              <a:endPara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Text Placeholder 2"/>
            <p:cNvSpPr txBox="1">
              <a:spLocks/>
            </p:cNvSpPr>
            <p:nvPr/>
          </p:nvSpPr>
          <p:spPr>
            <a:xfrm>
              <a:off x="9857228" y="2425291"/>
              <a:ext cx="160769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Flutter</a:t>
              </a:r>
            </a:p>
          </p:txBody>
        </p:sp>
        <p:sp>
          <p:nvSpPr>
            <p:cNvPr id="101" name="Text Placeholder 2"/>
            <p:cNvSpPr txBox="1">
              <a:spLocks/>
            </p:cNvSpPr>
            <p:nvPr/>
          </p:nvSpPr>
          <p:spPr>
            <a:xfrm>
              <a:off x="9864393" y="2692531"/>
              <a:ext cx="1785574" cy="106747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ramework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plikasi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mobile. </a:t>
              </a:r>
              <a:r>
                <a:rPr lang="en-GB" b="1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Flutter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 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igunakan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dalam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pengembangan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plikasi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untuk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sistem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GB" b="0" i="0" dirty="0" err="1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operasi</a:t>
              </a:r>
              <a:r>
                <a:rPr lang="en-GB" b="0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 </a:t>
              </a:r>
              <a:r>
                <a:rPr lang="en-GB" b="1" i="0" dirty="0">
                  <a:solidFill>
                    <a:srgbClr val="B0F7F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Android</a:t>
              </a:r>
              <a:endPara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193" name="Freeform 10">
            <a:extLst>
              <a:ext uri="{FF2B5EF4-FFF2-40B4-BE49-F238E27FC236}">
                <a16:creationId xmlns:a16="http://schemas.microsoft.com/office/drawing/2014/main" id="{AF25FCC1-7B6C-3F35-0489-3A6A3B76BE11}"/>
              </a:ext>
            </a:extLst>
          </p:cNvPr>
          <p:cNvSpPr>
            <a:spLocks/>
          </p:cNvSpPr>
          <p:nvPr/>
        </p:nvSpPr>
        <p:spPr bwMode="auto">
          <a:xfrm>
            <a:off x="7248525" y="3337804"/>
            <a:ext cx="1344613" cy="1346200"/>
          </a:xfrm>
          <a:custGeom>
            <a:avLst/>
            <a:gdLst>
              <a:gd name="T0" fmla="*/ 348 w 847"/>
              <a:gd name="T1" fmla="*/ 424 h 848"/>
              <a:gd name="T2" fmla="*/ 459 w 847"/>
              <a:gd name="T3" fmla="*/ 0 h 848"/>
              <a:gd name="T4" fmla="*/ 653 w 847"/>
              <a:gd name="T5" fmla="*/ 195 h 848"/>
              <a:gd name="T6" fmla="*/ 847 w 847"/>
              <a:gd name="T7" fmla="*/ 389 h 848"/>
              <a:gd name="T8" fmla="*/ 423 w 847"/>
              <a:gd name="T9" fmla="*/ 500 h 848"/>
              <a:gd name="T10" fmla="*/ 234 w 847"/>
              <a:gd name="T11" fmla="*/ 848 h 848"/>
              <a:gd name="T12" fmla="*/ 118 w 847"/>
              <a:gd name="T13" fmla="*/ 730 h 848"/>
              <a:gd name="T14" fmla="*/ 0 w 847"/>
              <a:gd name="T15" fmla="*/ 612 h 848"/>
              <a:gd name="T16" fmla="*/ 348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348" y="424"/>
                </a:moveTo>
                <a:lnTo>
                  <a:pt x="459" y="0"/>
                </a:lnTo>
                <a:lnTo>
                  <a:pt x="653" y="195"/>
                </a:lnTo>
                <a:lnTo>
                  <a:pt x="847" y="389"/>
                </a:lnTo>
                <a:lnTo>
                  <a:pt x="423" y="500"/>
                </a:lnTo>
                <a:lnTo>
                  <a:pt x="234" y="848"/>
                </a:lnTo>
                <a:lnTo>
                  <a:pt x="118" y="730"/>
                </a:lnTo>
                <a:lnTo>
                  <a:pt x="0" y="612"/>
                </a:lnTo>
                <a:lnTo>
                  <a:pt x="348" y="424"/>
                </a:lnTo>
                <a:close/>
              </a:path>
            </a:pathLst>
          </a:custGeom>
          <a:gradFill flip="none" rotWithShape="1">
            <a:gsLst>
              <a:gs pos="51000">
                <a:srgbClr val="69AFC0"/>
              </a:gs>
              <a:gs pos="0">
                <a:srgbClr val="125680"/>
              </a:gs>
              <a:gs pos="96000">
                <a:srgbClr val="125680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111"/>
          <p:cNvGrpSpPr/>
          <p:nvPr/>
        </p:nvGrpSpPr>
        <p:grpSpPr>
          <a:xfrm>
            <a:off x="1535112" y="4005286"/>
            <a:ext cx="7300913" cy="189920"/>
            <a:chOff x="1535112" y="4005286"/>
            <a:chExt cx="7300913" cy="189920"/>
          </a:xfrm>
        </p:grpSpPr>
        <p:cxnSp>
          <p:nvCxnSpPr>
            <p:cNvPr id="106" name="Straight Connector 105"/>
            <p:cNvCxnSpPr/>
            <p:nvPr/>
          </p:nvCxnSpPr>
          <p:spPr>
            <a:xfrm>
              <a:off x="1535112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5186363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8836025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170" name="Picture 2" descr="How to get started with MongoDB in 10 minutes | by Navindu Jayatilake |  We've moved to freeCodeCamp.org/news | Medium">
            <a:extLst>
              <a:ext uri="{FF2B5EF4-FFF2-40B4-BE49-F238E27FC236}">
                <a16:creationId xmlns:a16="http://schemas.microsoft.com/office/drawing/2014/main" id="{99BE63C4-CA9A-63E0-A18E-FAAEA2986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281" y="2586023"/>
            <a:ext cx="1057950" cy="1057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95" name="Freeform 13">
            <a:extLst>
              <a:ext uri="{FF2B5EF4-FFF2-40B4-BE49-F238E27FC236}">
                <a16:creationId xmlns:a16="http://schemas.microsoft.com/office/drawing/2014/main" id="{2475EDCE-17EB-715C-F2C3-470CF66DC1EE}"/>
              </a:ext>
            </a:extLst>
          </p:cNvPr>
          <p:cNvSpPr>
            <a:spLocks/>
          </p:cNvSpPr>
          <p:nvPr/>
        </p:nvSpPr>
        <p:spPr bwMode="auto">
          <a:xfrm>
            <a:off x="13674353" y="633207"/>
            <a:ext cx="198587" cy="255857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7197" name="Picture 4" descr="Visual Studio Code - Wikipedia bahasa Indonesia, ensiklopedia bebas">
            <a:extLst>
              <a:ext uri="{FF2B5EF4-FFF2-40B4-BE49-F238E27FC236}">
                <a16:creationId xmlns:a16="http://schemas.microsoft.com/office/drawing/2014/main" id="{D8257622-11CE-1C6F-DBFC-3E9F65ED2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6414" y="2643416"/>
            <a:ext cx="1090042" cy="1090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98" name="Picture 6" descr="Starter Kit Belajar Flutter Yang Wajib Kamu Miliki - Eudeka!">
            <a:extLst>
              <a:ext uri="{FF2B5EF4-FFF2-40B4-BE49-F238E27FC236}">
                <a16:creationId xmlns:a16="http://schemas.microsoft.com/office/drawing/2014/main" id="{D2B2ECE4-7C7D-0C0C-F60A-2380FCF6C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072" y="4545709"/>
            <a:ext cx="973384" cy="973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2666522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10650"/>
            <a:ext cx="8921915" cy="6868650"/>
          </a:xfrm>
          <a:prstGeom prst="rect">
            <a:avLst/>
          </a:prstGeom>
        </p:spPr>
      </p:pic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706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35453" y="4087"/>
            <a:ext cx="5021694" cy="2510847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797062" y="5345299"/>
            <a:ext cx="3193249" cy="1596625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ángulo 3">
            <a:extLst>
              <a:ext uri="{FF2B5EF4-FFF2-40B4-BE49-F238E27FC236}">
                <a16:creationId xmlns:a16="http://schemas.microsoft.com/office/drawing/2014/main" id="{4DD79301-C8BD-4232-9663-26AC53A142F1}"/>
              </a:ext>
            </a:extLst>
          </p:cNvPr>
          <p:cNvSpPr/>
          <p:nvPr/>
        </p:nvSpPr>
        <p:spPr>
          <a:xfrm>
            <a:off x="5236977" y="3029118"/>
            <a:ext cx="44205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ntuk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NVV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ED9C24-A955-810F-7D54-799E725B458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313" t="17111" r="66624" b="19000"/>
          <a:stretch/>
        </p:blipFill>
        <p:spPr>
          <a:xfrm>
            <a:off x="65637" y="1747334"/>
            <a:ext cx="4070067" cy="503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629197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88891" cy="3236914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Rectangle 48"/>
          <p:cNvSpPr>
            <a:spLocks noChangeArrowheads="1"/>
          </p:cNvSpPr>
          <p:nvPr/>
        </p:nvSpPr>
        <p:spPr bwMode="auto">
          <a:xfrm>
            <a:off x="0" y="3230294"/>
            <a:ext cx="12188890" cy="3627706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16" name="Straight Connector 115"/>
          <p:cNvCxnSpPr/>
          <p:nvPr/>
        </p:nvCxnSpPr>
        <p:spPr>
          <a:xfrm>
            <a:off x="0" y="3489326"/>
            <a:ext cx="10500346" cy="0"/>
          </a:xfrm>
          <a:prstGeom prst="line">
            <a:avLst/>
          </a:prstGeom>
          <a:ln w="28575">
            <a:solidFill>
              <a:srgbClr val="B0F7F4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721677" y="901249"/>
            <a:ext cx="10809135" cy="1239841"/>
            <a:chOff x="814298" y="3603943"/>
            <a:chExt cx="10809135" cy="1239841"/>
          </a:xfrm>
        </p:grpSpPr>
        <p:sp>
          <p:nvSpPr>
            <p:cNvPr id="17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9"/>
            <p:cNvSpPr>
              <a:spLocks noChangeArrowheads="1"/>
            </p:cNvSpPr>
            <p:nvPr/>
          </p:nvSpPr>
          <p:spPr bwMode="auto">
            <a:xfrm>
              <a:off x="4933869" y="474362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64"/>
            <p:cNvSpPr>
              <a:spLocks noChangeArrowheads="1"/>
            </p:cNvSpPr>
            <p:nvPr/>
          </p:nvSpPr>
          <p:spPr bwMode="auto">
            <a:xfrm>
              <a:off x="7754634" y="4693116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65"/>
            <p:cNvSpPr>
              <a:spLocks noChangeArrowheads="1"/>
            </p:cNvSpPr>
            <p:nvPr/>
          </p:nvSpPr>
          <p:spPr bwMode="auto">
            <a:xfrm>
              <a:off x="6117299" y="4625688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6"/>
            <p:cNvSpPr>
              <a:spLocks noChangeArrowheads="1"/>
            </p:cNvSpPr>
            <p:nvPr/>
          </p:nvSpPr>
          <p:spPr bwMode="auto">
            <a:xfrm>
              <a:off x="9675018" y="4768450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71"/>
            <p:cNvSpPr>
              <a:spLocks noChangeArrowheads="1"/>
            </p:cNvSpPr>
            <p:nvPr/>
          </p:nvSpPr>
          <p:spPr bwMode="auto">
            <a:xfrm>
              <a:off x="9224973" y="392142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73"/>
            <p:cNvSpPr>
              <a:spLocks noChangeArrowheads="1"/>
            </p:cNvSpPr>
            <p:nvPr/>
          </p:nvSpPr>
          <p:spPr bwMode="auto">
            <a:xfrm>
              <a:off x="8406483" y="447176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74"/>
            <p:cNvSpPr>
              <a:spLocks noChangeArrowheads="1"/>
            </p:cNvSpPr>
            <p:nvPr/>
          </p:nvSpPr>
          <p:spPr bwMode="auto">
            <a:xfrm>
              <a:off x="2841598" y="4281114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826809" y="3299924"/>
            <a:ext cx="1384300" cy="548177"/>
            <a:chOff x="929805" y="4201624"/>
            <a:chExt cx="1384300" cy="548177"/>
          </a:xfrm>
        </p:grpSpPr>
        <p:sp>
          <p:nvSpPr>
            <p:cNvPr id="58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0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52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3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4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sp>
        <p:nvSpPr>
          <p:cNvPr id="39" name="TextBox 38"/>
          <p:cNvSpPr txBox="1"/>
          <p:nvPr/>
        </p:nvSpPr>
        <p:spPr>
          <a:xfrm>
            <a:off x="826809" y="589490"/>
            <a:ext cx="3490699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truktur Folder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3064292" y="3299924"/>
            <a:ext cx="1384300" cy="548177"/>
            <a:chOff x="929805" y="4201624"/>
            <a:chExt cx="1384300" cy="548177"/>
          </a:xfrm>
        </p:grpSpPr>
        <p:sp>
          <p:nvSpPr>
            <p:cNvPr id="92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3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94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95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96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97" name="Group 96"/>
          <p:cNvGrpSpPr/>
          <p:nvPr/>
        </p:nvGrpSpPr>
        <p:grpSpPr>
          <a:xfrm>
            <a:off x="5301775" y="3299924"/>
            <a:ext cx="1384300" cy="548177"/>
            <a:chOff x="929805" y="4201624"/>
            <a:chExt cx="1384300" cy="548177"/>
          </a:xfrm>
        </p:grpSpPr>
        <p:sp>
          <p:nvSpPr>
            <p:cNvPr id="98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9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100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1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2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103" name="Group 102"/>
          <p:cNvGrpSpPr/>
          <p:nvPr/>
        </p:nvGrpSpPr>
        <p:grpSpPr>
          <a:xfrm>
            <a:off x="7539258" y="3299924"/>
            <a:ext cx="1384300" cy="548177"/>
            <a:chOff x="929805" y="4201624"/>
            <a:chExt cx="1384300" cy="548177"/>
          </a:xfrm>
        </p:grpSpPr>
        <p:sp>
          <p:nvSpPr>
            <p:cNvPr id="104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5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106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7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8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1119850" y="2200438"/>
            <a:ext cx="798223" cy="798223"/>
            <a:chOff x="1119850" y="3102138"/>
            <a:chExt cx="798223" cy="798223"/>
          </a:xfrm>
        </p:grpSpPr>
        <p:sp>
          <p:nvSpPr>
            <p:cNvPr id="117" name="Rectangle 11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3357333" y="2200438"/>
            <a:ext cx="798223" cy="798223"/>
            <a:chOff x="1119850" y="3102138"/>
            <a:chExt cx="798223" cy="798223"/>
          </a:xfrm>
        </p:grpSpPr>
        <p:sp>
          <p:nvSpPr>
            <p:cNvPr id="128" name="Rectangle 127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5594816" y="2200438"/>
            <a:ext cx="798223" cy="798223"/>
            <a:chOff x="1119850" y="3102138"/>
            <a:chExt cx="798223" cy="798223"/>
          </a:xfrm>
        </p:grpSpPr>
        <p:sp>
          <p:nvSpPr>
            <p:cNvPr id="131" name="Rectangle 130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7832299" y="2200438"/>
            <a:ext cx="798223" cy="798223"/>
            <a:chOff x="1119850" y="3102138"/>
            <a:chExt cx="798223" cy="798223"/>
          </a:xfrm>
        </p:grpSpPr>
        <p:sp>
          <p:nvSpPr>
            <p:cNvPr id="134" name="Rectangle 133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10069780" y="2205769"/>
            <a:ext cx="798223" cy="798223"/>
            <a:chOff x="1119850" y="3102138"/>
            <a:chExt cx="798223" cy="798223"/>
          </a:xfrm>
        </p:grpSpPr>
        <p:sp>
          <p:nvSpPr>
            <p:cNvPr id="137" name="Rectangle 13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8088535" y="2477862"/>
            <a:ext cx="285750" cy="287338"/>
            <a:chOff x="2025650" y="4786313"/>
            <a:chExt cx="285750" cy="287338"/>
          </a:xfrm>
          <a:solidFill>
            <a:srgbClr val="125680"/>
          </a:solidFill>
          <a:effectLst/>
        </p:grpSpPr>
        <p:sp>
          <p:nvSpPr>
            <p:cNvPr id="140" name="Freeform 565"/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566"/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5851052" y="2486837"/>
            <a:ext cx="285750" cy="225425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143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3614363" y="2468580"/>
            <a:ext cx="284163" cy="261938"/>
            <a:chOff x="4313201" y="1920875"/>
            <a:chExt cx="284163" cy="261938"/>
          </a:xfrm>
          <a:solidFill>
            <a:srgbClr val="125680"/>
          </a:solidFill>
          <a:effectLst/>
        </p:grpSpPr>
        <p:sp>
          <p:nvSpPr>
            <p:cNvPr id="146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1418949" y="2455880"/>
            <a:ext cx="200025" cy="287338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49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5" name="Text Placeholder 2"/>
          <p:cNvSpPr txBox="1">
            <a:spLocks/>
          </p:cNvSpPr>
          <p:nvPr/>
        </p:nvSpPr>
        <p:spPr>
          <a:xfrm>
            <a:off x="814298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dapa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dalam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lder Screen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aga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mpone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ndukung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da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mpil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au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creen  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814298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idget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7" name="Text Placeholder 2"/>
          <p:cNvSpPr txBox="1">
            <a:spLocks/>
          </p:cNvSpPr>
          <p:nvPr/>
        </p:nvSpPr>
        <p:spPr>
          <a:xfrm>
            <a:off x="3064292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ndas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ol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berap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l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ampung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put 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3064292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odels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9" name="Text Placeholder 2"/>
          <p:cNvSpPr txBox="1">
            <a:spLocks/>
          </p:cNvSpPr>
          <p:nvPr/>
        </p:nvSpPr>
        <p:spPr>
          <a:xfrm>
            <a:off x="5299676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dapa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dalam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lder service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ntuk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anageme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au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ol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tate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5299676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rovider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1" name="Text Placeholder 2"/>
          <p:cNvSpPr txBox="1">
            <a:spLocks/>
          </p:cNvSpPr>
          <p:nvPr/>
        </p:nvSpPr>
        <p:spPr>
          <a:xfrm>
            <a:off x="7535060" y="4435405"/>
            <a:ext cx="1751524" cy="631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amanya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unak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lam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mpilan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atu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likasi</a:t>
            </a:r>
            <a:endParaRPr lang="en-US" dirty="0">
              <a:solidFill>
                <a:srgbClr val="B0F7F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7535060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creen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3" name="Text Placeholder 2"/>
          <p:cNvSpPr txBox="1">
            <a:spLocks/>
          </p:cNvSpPr>
          <p:nvPr/>
        </p:nvSpPr>
        <p:spPr>
          <a:xfrm>
            <a:off x="9779288" y="4435405"/>
            <a:ext cx="1751524" cy="849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uah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lder yang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dalamnya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dapat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baga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rvice </a:t>
            </a:r>
            <a:r>
              <a:rPr lang="en-US" dirty="0" err="1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perti</a:t>
            </a: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base dan provider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9779288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ervice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2D173F6-F175-5CF1-DE8D-D5B179D8CB79}"/>
              </a:ext>
            </a:extLst>
          </p:cNvPr>
          <p:cNvGrpSpPr/>
          <p:nvPr/>
        </p:nvGrpSpPr>
        <p:grpSpPr>
          <a:xfrm>
            <a:off x="9864073" y="3212684"/>
            <a:ext cx="1384300" cy="548177"/>
            <a:chOff x="929805" y="4201624"/>
            <a:chExt cx="1384300" cy="548177"/>
          </a:xfrm>
        </p:grpSpPr>
        <p:sp>
          <p:nvSpPr>
            <p:cNvPr id="3" name="Freeform 11">
              <a:extLst>
                <a:ext uri="{FF2B5EF4-FFF2-40B4-BE49-F238E27FC236}">
                  <a16:creationId xmlns:a16="http://schemas.microsoft.com/office/drawing/2014/main" id="{EEA3CFA2-5CA4-7244-560D-941F03052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" name="Group 4">
              <a:extLst>
                <a:ext uri="{FF2B5EF4-FFF2-40B4-BE49-F238E27FC236}">
                  <a16:creationId xmlns:a16="http://schemas.microsoft.com/office/drawing/2014/main" id="{1A011DF8-CF4F-362E-16D0-4412714FB92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5" name="Freeform 5">
                <a:extLst>
                  <a:ext uri="{FF2B5EF4-FFF2-40B4-BE49-F238E27FC236}">
                    <a16:creationId xmlns:a16="http://schemas.microsoft.com/office/drawing/2014/main" id="{2D30DFCD-0B20-AE0C-81BD-D8AD8AD33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6" name="Freeform 6">
                <a:extLst>
                  <a:ext uri="{FF2B5EF4-FFF2-40B4-BE49-F238E27FC236}">
                    <a16:creationId xmlns:a16="http://schemas.microsoft.com/office/drawing/2014/main" id="{F226196B-E58E-3073-D2B6-BE6D4F827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7" name="Freeform 7">
                <a:extLst>
                  <a:ext uri="{FF2B5EF4-FFF2-40B4-BE49-F238E27FC236}">
                    <a16:creationId xmlns:a16="http://schemas.microsoft.com/office/drawing/2014/main" id="{362AEEDF-BC15-815F-C8DD-B256402FA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B99DD27-D145-91C6-DDA8-1FAF6EAD033C}"/>
              </a:ext>
            </a:extLst>
          </p:cNvPr>
          <p:cNvGrpSpPr/>
          <p:nvPr/>
        </p:nvGrpSpPr>
        <p:grpSpPr>
          <a:xfrm>
            <a:off x="10345361" y="2442873"/>
            <a:ext cx="269422" cy="273392"/>
            <a:chOff x="896938" y="1943100"/>
            <a:chExt cx="249237" cy="287338"/>
          </a:xfrm>
          <a:solidFill>
            <a:schemeClr val="accent1">
              <a:lumMod val="75000"/>
            </a:schemeClr>
          </a:solidFill>
          <a:effectLst/>
        </p:grpSpPr>
        <p:sp>
          <p:nvSpPr>
            <p:cNvPr id="11" name="Freeform 1088">
              <a:extLst>
                <a:ext uri="{FF2B5EF4-FFF2-40B4-BE49-F238E27FC236}">
                  <a16:creationId xmlns:a16="http://schemas.microsoft.com/office/drawing/2014/main" id="{FB85FF78-0A40-AFDB-BC58-A8F5D9511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89">
              <a:extLst>
                <a:ext uri="{FF2B5EF4-FFF2-40B4-BE49-F238E27FC236}">
                  <a16:creationId xmlns:a16="http://schemas.microsoft.com/office/drawing/2014/main" id="{8E2EF5E1-3D4C-9F31-61CF-EAB51740DA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5082805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DFC36C1-3964-ACFC-64FE-C28B8C4C08CE}"/>
              </a:ext>
            </a:extLst>
          </p:cNvPr>
          <p:cNvSpPr txBox="1"/>
          <p:nvPr/>
        </p:nvSpPr>
        <p:spPr>
          <a:xfrm>
            <a:off x="555940" y="195471"/>
            <a:ext cx="272831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odel Data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AE2DD9-5E5E-320F-11DC-64A00D47252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118" t="36610" r="39993" b="27571"/>
          <a:stretch/>
        </p:blipFill>
        <p:spPr>
          <a:xfrm>
            <a:off x="286719" y="1053192"/>
            <a:ext cx="6448198" cy="245648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20B54C8-9D87-5BEB-6892-02583B6277D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209" t="37179" r="30903" b="46779"/>
          <a:stretch/>
        </p:blipFill>
        <p:spPr>
          <a:xfrm>
            <a:off x="5525147" y="4704665"/>
            <a:ext cx="6448198" cy="1100143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14FCC2AA-0E01-1266-095C-D5894385070C}"/>
              </a:ext>
            </a:extLst>
          </p:cNvPr>
          <p:cNvGrpSpPr/>
          <p:nvPr/>
        </p:nvGrpSpPr>
        <p:grpSpPr>
          <a:xfrm>
            <a:off x="1499641" y="4704665"/>
            <a:ext cx="770544" cy="770544"/>
            <a:chOff x="5499572" y="3869487"/>
            <a:chExt cx="770544" cy="770544"/>
          </a:xfrm>
        </p:grpSpPr>
        <p:sp>
          <p:nvSpPr>
            <p:cNvPr id="20" name="Snip Single Corner Rectangle 90">
              <a:extLst>
                <a:ext uri="{FF2B5EF4-FFF2-40B4-BE49-F238E27FC236}">
                  <a16:creationId xmlns:a16="http://schemas.microsoft.com/office/drawing/2014/main" id="{1B02E783-CFE2-40B1-AEBB-2169F83D028C}"/>
                </a:ext>
              </a:extLst>
            </p:cNvPr>
            <p:cNvSpPr/>
            <p:nvPr/>
          </p:nvSpPr>
          <p:spPr>
            <a:xfrm>
              <a:off x="5499572" y="3869487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69AFC0"/>
                </a:gs>
                <a:gs pos="0">
                  <a:srgbClr val="125680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 3391">
              <a:extLst>
                <a:ext uri="{FF2B5EF4-FFF2-40B4-BE49-F238E27FC236}">
                  <a16:creationId xmlns:a16="http://schemas.microsoft.com/office/drawing/2014/main" id="{0DEA5537-C5B7-2BC6-32A3-3E0000D5A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5220" y="4065135"/>
              <a:ext cx="379248" cy="379248"/>
            </a:xfrm>
            <a:custGeom>
              <a:avLst/>
              <a:gdLst>
                <a:gd name="T0" fmla="*/ 400 w 721"/>
                <a:gd name="T1" fmla="*/ 502 h 721"/>
                <a:gd name="T2" fmla="*/ 441 w 721"/>
                <a:gd name="T3" fmla="*/ 487 h 721"/>
                <a:gd name="T4" fmla="*/ 456 w 721"/>
                <a:gd name="T5" fmla="*/ 469 h 721"/>
                <a:gd name="T6" fmla="*/ 477 w 721"/>
                <a:gd name="T7" fmla="*/ 475 h 721"/>
                <a:gd name="T8" fmla="*/ 498 w 721"/>
                <a:gd name="T9" fmla="*/ 505 h 721"/>
                <a:gd name="T10" fmla="*/ 361 w 721"/>
                <a:gd name="T11" fmla="*/ 709 h 721"/>
                <a:gd name="T12" fmla="*/ 315 w 721"/>
                <a:gd name="T13" fmla="*/ 654 h 721"/>
                <a:gd name="T14" fmla="*/ 347 w 721"/>
                <a:gd name="T15" fmla="*/ 606 h 721"/>
                <a:gd name="T16" fmla="*/ 365 w 721"/>
                <a:gd name="T17" fmla="*/ 601 h 721"/>
                <a:gd name="T18" fmla="*/ 387 w 721"/>
                <a:gd name="T19" fmla="*/ 623 h 721"/>
                <a:gd name="T20" fmla="*/ 415 w 721"/>
                <a:gd name="T21" fmla="*/ 691 h 721"/>
                <a:gd name="T22" fmla="*/ 225 w 721"/>
                <a:gd name="T23" fmla="*/ 505 h 721"/>
                <a:gd name="T24" fmla="*/ 245 w 721"/>
                <a:gd name="T25" fmla="*/ 477 h 721"/>
                <a:gd name="T26" fmla="*/ 265 w 721"/>
                <a:gd name="T27" fmla="*/ 469 h 721"/>
                <a:gd name="T28" fmla="*/ 280 w 721"/>
                <a:gd name="T29" fmla="*/ 487 h 721"/>
                <a:gd name="T30" fmla="*/ 321 w 721"/>
                <a:gd name="T31" fmla="*/ 502 h 721"/>
                <a:gd name="T32" fmla="*/ 222 w 721"/>
                <a:gd name="T33" fmla="*/ 511 h 721"/>
                <a:gd name="T34" fmla="*/ 397 w 721"/>
                <a:gd name="T35" fmla="*/ 541 h 721"/>
                <a:gd name="T36" fmla="*/ 385 w 721"/>
                <a:gd name="T37" fmla="*/ 565 h 721"/>
                <a:gd name="T38" fmla="*/ 361 w 721"/>
                <a:gd name="T39" fmla="*/ 577 h 721"/>
                <a:gd name="T40" fmla="*/ 335 w 721"/>
                <a:gd name="T41" fmla="*/ 565 h 721"/>
                <a:gd name="T42" fmla="*/ 325 w 721"/>
                <a:gd name="T43" fmla="*/ 541 h 721"/>
                <a:gd name="T44" fmla="*/ 681 w 721"/>
                <a:gd name="T45" fmla="*/ 552 h 721"/>
                <a:gd name="T46" fmla="*/ 633 w 721"/>
                <a:gd name="T47" fmla="*/ 522 h 721"/>
                <a:gd name="T48" fmla="*/ 524 w 721"/>
                <a:gd name="T49" fmla="*/ 477 h 721"/>
                <a:gd name="T50" fmla="*/ 484 w 721"/>
                <a:gd name="T51" fmla="*/ 448 h 721"/>
                <a:gd name="T52" fmla="*/ 457 w 721"/>
                <a:gd name="T53" fmla="*/ 433 h 721"/>
                <a:gd name="T54" fmla="*/ 466 w 721"/>
                <a:gd name="T55" fmla="*/ 366 h 721"/>
                <a:gd name="T56" fmla="*/ 489 w 721"/>
                <a:gd name="T57" fmla="*/ 322 h 721"/>
                <a:gd name="T58" fmla="*/ 504 w 721"/>
                <a:gd name="T59" fmla="*/ 279 h 721"/>
                <a:gd name="T60" fmla="*/ 513 w 721"/>
                <a:gd name="T61" fmla="*/ 247 h 721"/>
                <a:gd name="T62" fmla="*/ 506 w 721"/>
                <a:gd name="T63" fmla="*/ 215 h 721"/>
                <a:gd name="T64" fmla="*/ 501 w 721"/>
                <a:gd name="T65" fmla="*/ 193 h 721"/>
                <a:gd name="T66" fmla="*/ 527 w 721"/>
                <a:gd name="T67" fmla="*/ 102 h 721"/>
                <a:gd name="T68" fmla="*/ 519 w 721"/>
                <a:gd name="T69" fmla="*/ 51 h 721"/>
                <a:gd name="T70" fmla="*/ 493 w 721"/>
                <a:gd name="T71" fmla="*/ 26 h 721"/>
                <a:gd name="T72" fmla="*/ 453 w 721"/>
                <a:gd name="T73" fmla="*/ 9 h 721"/>
                <a:gd name="T74" fmla="*/ 383 w 721"/>
                <a:gd name="T75" fmla="*/ 0 h 721"/>
                <a:gd name="T76" fmla="*/ 311 w 721"/>
                <a:gd name="T77" fmla="*/ 9 h 721"/>
                <a:gd name="T78" fmla="*/ 271 w 721"/>
                <a:gd name="T79" fmla="*/ 32 h 721"/>
                <a:gd name="T80" fmla="*/ 239 w 721"/>
                <a:gd name="T81" fmla="*/ 50 h 721"/>
                <a:gd name="T82" fmla="*/ 222 w 721"/>
                <a:gd name="T83" fmla="*/ 66 h 721"/>
                <a:gd name="T84" fmla="*/ 211 w 721"/>
                <a:gd name="T85" fmla="*/ 95 h 721"/>
                <a:gd name="T86" fmla="*/ 217 w 721"/>
                <a:gd name="T87" fmla="*/ 164 h 721"/>
                <a:gd name="T88" fmla="*/ 227 w 721"/>
                <a:gd name="T89" fmla="*/ 202 h 721"/>
                <a:gd name="T90" fmla="*/ 212 w 721"/>
                <a:gd name="T91" fmla="*/ 230 h 721"/>
                <a:gd name="T92" fmla="*/ 213 w 721"/>
                <a:gd name="T93" fmla="*/ 263 h 721"/>
                <a:gd name="T94" fmla="*/ 229 w 721"/>
                <a:gd name="T95" fmla="*/ 290 h 721"/>
                <a:gd name="T96" fmla="*/ 243 w 721"/>
                <a:gd name="T97" fmla="*/ 348 h 721"/>
                <a:gd name="T98" fmla="*/ 265 w 721"/>
                <a:gd name="T99" fmla="*/ 378 h 721"/>
                <a:gd name="T100" fmla="*/ 249 w 721"/>
                <a:gd name="T101" fmla="*/ 441 h 721"/>
                <a:gd name="T102" fmla="*/ 209 w 721"/>
                <a:gd name="T103" fmla="*/ 473 h 721"/>
                <a:gd name="T104" fmla="*/ 134 w 721"/>
                <a:gd name="T105" fmla="*/ 502 h 721"/>
                <a:gd name="T106" fmla="*/ 50 w 721"/>
                <a:gd name="T107" fmla="*/ 547 h 721"/>
                <a:gd name="T108" fmla="*/ 28 w 721"/>
                <a:gd name="T109" fmla="*/ 573 h 721"/>
                <a:gd name="T110" fmla="*/ 9 w 721"/>
                <a:gd name="T111" fmla="*/ 629 h 721"/>
                <a:gd name="T112" fmla="*/ 0 w 721"/>
                <a:gd name="T113" fmla="*/ 713 h 721"/>
                <a:gd name="T114" fmla="*/ 709 w 721"/>
                <a:gd name="T115" fmla="*/ 721 h 721"/>
                <a:gd name="T116" fmla="*/ 721 w 721"/>
                <a:gd name="T117" fmla="*/ 709 h 721"/>
                <a:gd name="T118" fmla="*/ 709 w 721"/>
                <a:gd name="T119" fmla="*/ 606 h 721"/>
                <a:gd name="T120" fmla="*/ 691 w 721"/>
                <a:gd name="T121" fmla="*/ 564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1" h="721">
                  <a:moveTo>
                    <a:pt x="415" y="510"/>
                  </a:moveTo>
                  <a:lnTo>
                    <a:pt x="415" y="510"/>
                  </a:lnTo>
                  <a:lnTo>
                    <a:pt x="415" y="510"/>
                  </a:lnTo>
                  <a:lnTo>
                    <a:pt x="400" y="502"/>
                  </a:lnTo>
                  <a:lnTo>
                    <a:pt x="414" y="498"/>
                  </a:lnTo>
                  <a:lnTo>
                    <a:pt x="428" y="493"/>
                  </a:lnTo>
                  <a:lnTo>
                    <a:pt x="434" y="491"/>
                  </a:lnTo>
                  <a:lnTo>
                    <a:pt x="441" y="487"/>
                  </a:lnTo>
                  <a:lnTo>
                    <a:pt x="447" y="482"/>
                  </a:lnTo>
                  <a:lnTo>
                    <a:pt x="453" y="477"/>
                  </a:lnTo>
                  <a:lnTo>
                    <a:pt x="456" y="473"/>
                  </a:lnTo>
                  <a:lnTo>
                    <a:pt x="456" y="469"/>
                  </a:lnTo>
                  <a:lnTo>
                    <a:pt x="456" y="459"/>
                  </a:lnTo>
                  <a:lnTo>
                    <a:pt x="464" y="462"/>
                  </a:lnTo>
                  <a:lnTo>
                    <a:pt x="470" y="469"/>
                  </a:lnTo>
                  <a:lnTo>
                    <a:pt x="477" y="475"/>
                  </a:lnTo>
                  <a:lnTo>
                    <a:pt x="483" y="482"/>
                  </a:lnTo>
                  <a:lnTo>
                    <a:pt x="489" y="489"/>
                  </a:lnTo>
                  <a:lnTo>
                    <a:pt x="495" y="497"/>
                  </a:lnTo>
                  <a:lnTo>
                    <a:pt x="498" y="505"/>
                  </a:lnTo>
                  <a:lnTo>
                    <a:pt x="501" y="511"/>
                  </a:lnTo>
                  <a:lnTo>
                    <a:pt x="522" y="574"/>
                  </a:lnTo>
                  <a:lnTo>
                    <a:pt x="415" y="510"/>
                  </a:lnTo>
                  <a:close/>
                  <a:moveTo>
                    <a:pt x="361" y="709"/>
                  </a:moveTo>
                  <a:lnTo>
                    <a:pt x="293" y="709"/>
                  </a:lnTo>
                  <a:lnTo>
                    <a:pt x="299" y="691"/>
                  </a:lnTo>
                  <a:lnTo>
                    <a:pt x="306" y="672"/>
                  </a:lnTo>
                  <a:lnTo>
                    <a:pt x="315" y="654"/>
                  </a:lnTo>
                  <a:lnTo>
                    <a:pt x="322" y="637"/>
                  </a:lnTo>
                  <a:lnTo>
                    <a:pt x="333" y="623"/>
                  </a:lnTo>
                  <a:lnTo>
                    <a:pt x="342" y="611"/>
                  </a:lnTo>
                  <a:lnTo>
                    <a:pt x="347" y="606"/>
                  </a:lnTo>
                  <a:lnTo>
                    <a:pt x="351" y="604"/>
                  </a:lnTo>
                  <a:lnTo>
                    <a:pt x="356" y="601"/>
                  </a:lnTo>
                  <a:lnTo>
                    <a:pt x="361" y="601"/>
                  </a:lnTo>
                  <a:lnTo>
                    <a:pt x="365" y="601"/>
                  </a:lnTo>
                  <a:lnTo>
                    <a:pt x="370" y="604"/>
                  </a:lnTo>
                  <a:lnTo>
                    <a:pt x="374" y="606"/>
                  </a:lnTo>
                  <a:lnTo>
                    <a:pt x="379" y="611"/>
                  </a:lnTo>
                  <a:lnTo>
                    <a:pt x="387" y="623"/>
                  </a:lnTo>
                  <a:lnTo>
                    <a:pt x="396" y="637"/>
                  </a:lnTo>
                  <a:lnTo>
                    <a:pt x="403" y="654"/>
                  </a:lnTo>
                  <a:lnTo>
                    <a:pt x="410" y="673"/>
                  </a:lnTo>
                  <a:lnTo>
                    <a:pt x="415" y="691"/>
                  </a:lnTo>
                  <a:lnTo>
                    <a:pt x="420" y="709"/>
                  </a:lnTo>
                  <a:lnTo>
                    <a:pt x="361" y="709"/>
                  </a:lnTo>
                  <a:close/>
                  <a:moveTo>
                    <a:pt x="222" y="511"/>
                  </a:moveTo>
                  <a:lnTo>
                    <a:pt x="225" y="505"/>
                  </a:lnTo>
                  <a:lnTo>
                    <a:pt x="229" y="497"/>
                  </a:lnTo>
                  <a:lnTo>
                    <a:pt x="234" y="489"/>
                  </a:lnTo>
                  <a:lnTo>
                    <a:pt x="239" y="483"/>
                  </a:lnTo>
                  <a:lnTo>
                    <a:pt x="245" y="477"/>
                  </a:lnTo>
                  <a:lnTo>
                    <a:pt x="252" y="470"/>
                  </a:lnTo>
                  <a:lnTo>
                    <a:pt x="258" y="464"/>
                  </a:lnTo>
                  <a:lnTo>
                    <a:pt x="265" y="460"/>
                  </a:lnTo>
                  <a:lnTo>
                    <a:pt x="265" y="469"/>
                  </a:lnTo>
                  <a:lnTo>
                    <a:pt x="265" y="473"/>
                  </a:lnTo>
                  <a:lnTo>
                    <a:pt x="267" y="477"/>
                  </a:lnTo>
                  <a:lnTo>
                    <a:pt x="274" y="482"/>
                  </a:lnTo>
                  <a:lnTo>
                    <a:pt x="280" y="487"/>
                  </a:lnTo>
                  <a:lnTo>
                    <a:pt x="286" y="491"/>
                  </a:lnTo>
                  <a:lnTo>
                    <a:pt x="293" y="493"/>
                  </a:lnTo>
                  <a:lnTo>
                    <a:pt x="307" y="498"/>
                  </a:lnTo>
                  <a:lnTo>
                    <a:pt x="321" y="502"/>
                  </a:lnTo>
                  <a:lnTo>
                    <a:pt x="306" y="511"/>
                  </a:lnTo>
                  <a:lnTo>
                    <a:pt x="306" y="511"/>
                  </a:lnTo>
                  <a:lnTo>
                    <a:pt x="202" y="574"/>
                  </a:lnTo>
                  <a:lnTo>
                    <a:pt x="222" y="511"/>
                  </a:lnTo>
                  <a:close/>
                  <a:moveTo>
                    <a:pt x="325" y="528"/>
                  </a:moveTo>
                  <a:lnTo>
                    <a:pt x="361" y="506"/>
                  </a:lnTo>
                  <a:lnTo>
                    <a:pt x="397" y="528"/>
                  </a:lnTo>
                  <a:lnTo>
                    <a:pt x="397" y="541"/>
                  </a:lnTo>
                  <a:lnTo>
                    <a:pt x="396" y="547"/>
                  </a:lnTo>
                  <a:lnTo>
                    <a:pt x="393" y="554"/>
                  </a:lnTo>
                  <a:lnTo>
                    <a:pt x="391" y="560"/>
                  </a:lnTo>
                  <a:lnTo>
                    <a:pt x="385" y="565"/>
                  </a:lnTo>
                  <a:lnTo>
                    <a:pt x="380" y="570"/>
                  </a:lnTo>
                  <a:lnTo>
                    <a:pt x="374" y="573"/>
                  </a:lnTo>
                  <a:lnTo>
                    <a:pt x="367" y="575"/>
                  </a:lnTo>
                  <a:lnTo>
                    <a:pt x="361" y="577"/>
                  </a:lnTo>
                  <a:lnTo>
                    <a:pt x="353" y="575"/>
                  </a:lnTo>
                  <a:lnTo>
                    <a:pt x="347" y="573"/>
                  </a:lnTo>
                  <a:lnTo>
                    <a:pt x="340" y="570"/>
                  </a:lnTo>
                  <a:lnTo>
                    <a:pt x="335" y="565"/>
                  </a:lnTo>
                  <a:lnTo>
                    <a:pt x="331" y="560"/>
                  </a:lnTo>
                  <a:lnTo>
                    <a:pt x="328" y="554"/>
                  </a:lnTo>
                  <a:lnTo>
                    <a:pt x="325" y="547"/>
                  </a:lnTo>
                  <a:lnTo>
                    <a:pt x="325" y="541"/>
                  </a:lnTo>
                  <a:lnTo>
                    <a:pt x="325" y="528"/>
                  </a:lnTo>
                  <a:close/>
                  <a:moveTo>
                    <a:pt x="691" y="564"/>
                  </a:moveTo>
                  <a:lnTo>
                    <a:pt x="686" y="557"/>
                  </a:lnTo>
                  <a:lnTo>
                    <a:pt x="681" y="552"/>
                  </a:lnTo>
                  <a:lnTo>
                    <a:pt x="674" y="547"/>
                  </a:lnTo>
                  <a:lnTo>
                    <a:pt x="668" y="541"/>
                  </a:lnTo>
                  <a:lnTo>
                    <a:pt x="651" y="531"/>
                  </a:lnTo>
                  <a:lnTo>
                    <a:pt x="633" y="522"/>
                  </a:lnTo>
                  <a:lnTo>
                    <a:pt x="591" y="502"/>
                  </a:lnTo>
                  <a:lnTo>
                    <a:pt x="545" y="484"/>
                  </a:lnTo>
                  <a:lnTo>
                    <a:pt x="534" y="480"/>
                  </a:lnTo>
                  <a:lnTo>
                    <a:pt x="524" y="477"/>
                  </a:lnTo>
                  <a:lnTo>
                    <a:pt x="514" y="473"/>
                  </a:lnTo>
                  <a:lnTo>
                    <a:pt x="504" y="469"/>
                  </a:lnTo>
                  <a:lnTo>
                    <a:pt x="495" y="457"/>
                  </a:lnTo>
                  <a:lnTo>
                    <a:pt x="484" y="448"/>
                  </a:lnTo>
                  <a:lnTo>
                    <a:pt x="473" y="441"/>
                  </a:lnTo>
                  <a:lnTo>
                    <a:pt x="462" y="434"/>
                  </a:lnTo>
                  <a:lnTo>
                    <a:pt x="460" y="433"/>
                  </a:lnTo>
                  <a:lnTo>
                    <a:pt x="457" y="433"/>
                  </a:lnTo>
                  <a:lnTo>
                    <a:pt x="456" y="433"/>
                  </a:lnTo>
                  <a:lnTo>
                    <a:pt x="456" y="378"/>
                  </a:lnTo>
                  <a:lnTo>
                    <a:pt x="461" y="373"/>
                  </a:lnTo>
                  <a:lnTo>
                    <a:pt x="466" y="366"/>
                  </a:lnTo>
                  <a:lnTo>
                    <a:pt x="473" y="358"/>
                  </a:lnTo>
                  <a:lnTo>
                    <a:pt x="479" y="348"/>
                  </a:lnTo>
                  <a:lnTo>
                    <a:pt x="484" y="337"/>
                  </a:lnTo>
                  <a:lnTo>
                    <a:pt x="489" y="322"/>
                  </a:lnTo>
                  <a:lnTo>
                    <a:pt x="492" y="308"/>
                  </a:lnTo>
                  <a:lnTo>
                    <a:pt x="495" y="290"/>
                  </a:lnTo>
                  <a:lnTo>
                    <a:pt x="500" y="285"/>
                  </a:lnTo>
                  <a:lnTo>
                    <a:pt x="504" y="279"/>
                  </a:lnTo>
                  <a:lnTo>
                    <a:pt x="507" y="271"/>
                  </a:lnTo>
                  <a:lnTo>
                    <a:pt x="510" y="262"/>
                  </a:lnTo>
                  <a:lnTo>
                    <a:pt x="511" y="254"/>
                  </a:lnTo>
                  <a:lnTo>
                    <a:pt x="513" y="247"/>
                  </a:lnTo>
                  <a:lnTo>
                    <a:pt x="513" y="238"/>
                  </a:lnTo>
                  <a:lnTo>
                    <a:pt x="511" y="230"/>
                  </a:lnTo>
                  <a:lnTo>
                    <a:pt x="510" y="222"/>
                  </a:lnTo>
                  <a:lnTo>
                    <a:pt x="506" y="215"/>
                  </a:lnTo>
                  <a:lnTo>
                    <a:pt x="502" y="208"/>
                  </a:lnTo>
                  <a:lnTo>
                    <a:pt x="497" y="202"/>
                  </a:lnTo>
                  <a:lnTo>
                    <a:pt x="498" y="198"/>
                  </a:lnTo>
                  <a:lnTo>
                    <a:pt x="501" y="193"/>
                  </a:lnTo>
                  <a:lnTo>
                    <a:pt x="510" y="167"/>
                  </a:lnTo>
                  <a:lnTo>
                    <a:pt x="520" y="135"/>
                  </a:lnTo>
                  <a:lnTo>
                    <a:pt x="524" y="118"/>
                  </a:lnTo>
                  <a:lnTo>
                    <a:pt x="527" y="102"/>
                  </a:lnTo>
                  <a:lnTo>
                    <a:pt x="527" y="85"/>
                  </a:lnTo>
                  <a:lnTo>
                    <a:pt x="525" y="68"/>
                  </a:lnTo>
                  <a:lnTo>
                    <a:pt x="523" y="59"/>
                  </a:lnTo>
                  <a:lnTo>
                    <a:pt x="519" y="51"/>
                  </a:lnTo>
                  <a:lnTo>
                    <a:pt x="514" y="44"/>
                  </a:lnTo>
                  <a:lnTo>
                    <a:pt x="509" y="37"/>
                  </a:lnTo>
                  <a:lnTo>
                    <a:pt x="501" y="31"/>
                  </a:lnTo>
                  <a:lnTo>
                    <a:pt x="493" y="26"/>
                  </a:lnTo>
                  <a:lnTo>
                    <a:pt x="484" y="21"/>
                  </a:lnTo>
                  <a:lnTo>
                    <a:pt x="475" y="16"/>
                  </a:lnTo>
                  <a:lnTo>
                    <a:pt x="465" y="12"/>
                  </a:lnTo>
                  <a:lnTo>
                    <a:pt x="453" y="9"/>
                  </a:lnTo>
                  <a:lnTo>
                    <a:pt x="442" y="7"/>
                  </a:lnTo>
                  <a:lnTo>
                    <a:pt x="430" y="4"/>
                  </a:lnTo>
                  <a:lnTo>
                    <a:pt x="407" y="0"/>
                  </a:lnTo>
                  <a:lnTo>
                    <a:pt x="383" y="0"/>
                  </a:lnTo>
                  <a:lnTo>
                    <a:pt x="365" y="0"/>
                  </a:lnTo>
                  <a:lnTo>
                    <a:pt x="347" y="1"/>
                  </a:lnTo>
                  <a:lnTo>
                    <a:pt x="329" y="5"/>
                  </a:lnTo>
                  <a:lnTo>
                    <a:pt x="311" y="9"/>
                  </a:lnTo>
                  <a:lnTo>
                    <a:pt x="295" y="16"/>
                  </a:lnTo>
                  <a:lnTo>
                    <a:pt x="281" y="23"/>
                  </a:lnTo>
                  <a:lnTo>
                    <a:pt x="276" y="27"/>
                  </a:lnTo>
                  <a:lnTo>
                    <a:pt x="271" y="32"/>
                  </a:lnTo>
                  <a:lnTo>
                    <a:pt x="266" y="37"/>
                  </a:lnTo>
                  <a:lnTo>
                    <a:pt x="263" y="44"/>
                  </a:lnTo>
                  <a:lnTo>
                    <a:pt x="251" y="46"/>
                  </a:lnTo>
                  <a:lnTo>
                    <a:pt x="239" y="50"/>
                  </a:lnTo>
                  <a:lnTo>
                    <a:pt x="234" y="53"/>
                  </a:lnTo>
                  <a:lnTo>
                    <a:pt x="230" y="57"/>
                  </a:lnTo>
                  <a:lnTo>
                    <a:pt x="225" y="60"/>
                  </a:lnTo>
                  <a:lnTo>
                    <a:pt x="222" y="66"/>
                  </a:lnTo>
                  <a:lnTo>
                    <a:pt x="217" y="72"/>
                  </a:lnTo>
                  <a:lnTo>
                    <a:pt x="215" y="78"/>
                  </a:lnTo>
                  <a:lnTo>
                    <a:pt x="212" y="87"/>
                  </a:lnTo>
                  <a:lnTo>
                    <a:pt x="211" y="95"/>
                  </a:lnTo>
                  <a:lnTo>
                    <a:pt x="209" y="112"/>
                  </a:lnTo>
                  <a:lnTo>
                    <a:pt x="211" y="130"/>
                  </a:lnTo>
                  <a:lnTo>
                    <a:pt x="213" y="148"/>
                  </a:lnTo>
                  <a:lnTo>
                    <a:pt x="217" y="164"/>
                  </a:lnTo>
                  <a:lnTo>
                    <a:pt x="221" y="181"/>
                  </a:lnTo>
                  <a:lnTo>
                    <a:pt x="225" y="194"/>
                  </a:lnTo>
                  <a:lnTo>
                    <a:pt x="226" y="198"/>
                  </a:lnTo>
                  <a:lnTo>
                    <a:pt x="227" y="202"/>
                  </a:lnTo>
                  <a:lnTo>
                    <a:pt x="222" y="207"/>
                  </a:lnTo>
                  <a:lnTo>
                    <a:pt x="217" y="215"/>
                  </a:lnTo>
                  <a:lnTo>
                    <a:pt x="215" y="221"/>
                  </a:lnTo>
                  <a:lnTo>
                    <a:pt x="212" y="230"/>
                  </a:lnTo>
                  <a:lnTo>
                    <a:pt x="211" y="238"/>
                  </a:lnTo>
                  <a:lnTo>
                    <a:pt x="211" y="247"/>
                  </a:lnTo>
                  <a:lnTo>
                    <a:pt x="212" y="254"/>
                  </a:lnTo>
                  <a:lnTo>
                    <a:pt x="213" y="263"/>
                  </a:lnTo>
                  <a:lnTo>
                    <a:pt x="216" y="272"/>
                  </a:lnTo>
                  <a:lnTo>
                    <a:pt x="220" y="280"/>
                  </a:lnTo>
                  <a:lnTo>
                    <a:pt x="224" y="285"/>
                  </a:lnTo>
                  <a:lnTo>
                    <a:pt x="229" y="290"/>
                  </a:lnTo>
                  <a:lnTo>
                    <a:pt x="230" y="307"/>
                  </a:lnTo>
                  <a:lnTo>
                    <a:pt x="234" y="322"/>
                  </a:lnTo>
                  <a:lnTo>
                    <a:pt x="238" y="337"/>
                  </a:lnTo>
                  <a:lnTo>
                    <a:pt x="243" y="348"/>
                  </a:lnTo>
                  <a:lnTo>
                    <a:pt x="249" y="358"/>
                  </a:lnTo>
                  <a:lnTo>
                    <a:pt x="254" y="366"/>
                  </a:lnTo>
                  <a:lnTo>
                    <a:pt x="260" y="373"/>
                  </a:lnTo>
                  <a:lnTo>
                    <a:pt x="265" y="378"/>
                  </a:lnTo>
                  <a:lnTo>
                    <a:pt x="265" y="433"/>
                  </a:lnTo>
                  <a:lnTo>
                    <a:pt x="262" y="433"/>
                  </a:lnTo>
                  <a:lnTo>
                    <a:pt x="261" y="434"/>
                  </a:lnTo>
                  <a:lnTo>
                    <a:pt x="249" y="441"/>
                  </a:lnTo>
                  <a:lnTo>
                    <a:pt x="239" y="448"/>
                  </a:lnTo>
                  <a:lnTo>
                    <a:pt x="229" y="457"/>
                  </a:lnTo>
                  <a:lnTo>
                    <a:pt x="220" y="469"/>
                  </a:lnTo>
                  <a:lnTo>
                    <a:pt x="209" y="473"/>
                  </a:lnTo>
                  <a:lnTo>
                    <a:pt x="200" y="477"/>
                  </a:lnTo>
                  <a:lnTo>
                    <a:pt x="190" y="480"/>
                  </a:lnTo>
                  <a:lnTo>
                    <a:pt x="181" y="484"/>
                  </a:lnTo>
                  <a:lnTo>
                    <a:pt x="134" y="502"/>
                  </a:lnTo>
                  <a:lnTo>
                    <a:pt x="91" y="522"/>
                  </a:lnTo>
                  <a:lnTo>
                    <a:pt x="73" y="531"/>
                  </a:lnTo>
                  <a:lnTo>
                    <a:pt x="57" y="541"/>
                  </a:lnTo>
                  <a:lnTo>
                    <a:pt x="50" y="547"/>
                  </a:lnTo>
                  <a:lnTo>
                    <a:pt x="44" y="552"/>
                  </a:lnTo>
                  <a:lnTo>
                    <a:pt x="39" y="557"/>
                  </a:lnTo>
                  <a:lnTo>
                    <a:pt x="34" y="564"/>
                  </a:lnTo>
                  <a:lnTo>
                    <a:pt x="28" y="573"/>
                  </a:lnTo>
                  <a:lnTo>
                    <a:pt x="23" y="583"/>
                  </a:lnTo>
                  <a:lnTo>
                    <a:pt x="19" y="595"/>
                  </a:lnTo>
                  <a:lnTo>
                    <a:pt x="16" y="606"/>
                  </a:lnTo>
                  <a:lnTo>
                    <a:pt x="9" y="629"/>
                  </a:lnTo>
                  <a:lnTo>
                    <a:pt x="5" y="653"/>
                  </a:lnTo>
                  <a:lnTo>
                    <a:pt x="1" y="691"/>
                  </a:lnTo>
                  <a:lnTo>
                    <a:pt x="0" y="709"/>
                  </a:lnTo>
                  <a:lnTo>
                    <a:pt x="0" y="713"/>
                  </a:lnTo>
                  <a:lnTo>
                    <a:pt x="4" y="717"/>
                  </a:lnTo>
                  <a:lnTo>
                    <a:pt x="8" y="719"/>
                  </a:lnTo>
                  <a:lnTo>
                    <a:pt x="12" y="721"/>
                  </a:lnTo>
                  <a:lnTo>
                    <a:pt x="709" y="721"/>
                  </a:lnTo>
                  <a:lnTo>
                    <a:pt x="714" y="719"/>
                  </a:lnTo>
                  <a:lnTo>
                    <a:pt x="718" y="717"/>
                  </a:lnTo>
                  <a:lnTo>
                    <a:pt x="721" y="713"/>
                  </a:lnTo>
                  <a:lnTo>
                    <a:pt x="721" y="709"/>
                  </a:lnTo>
                  <a:lnTo>
                    <a:pt x="721" y="691"/>
                  </a:lnTo>
                  <a:lnTo>
                    <a:pt x="718" y="653"/>
                  </a:lnTo>
                  <a:lnTo>
                    <a:pt x="714" y="629"/>
                  </a:lnTo>
                  <a:lnTo>
                    <a:pt x="709" y="606"/>
                  </a:lnTo>
                  <a:lnTo>
                    <a:pt x="705" y="595"/>
                  </a:lnTo>
                  <a:lnTo>
                    <a:pt x="701" y="583"/>
                  </a:lnTo>
                  <a:lnTo>
                    <a:pt x="696" y="573"/>
                  </a:lnTo>
                  <a:lnTo>
                    <a:pt x="691" y="5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6818E46-3636-C4AE-5F28-15B294363247}"/>
              </a:ext>
            </a:extLst>
          </p:cNvPr>
          <p:cNvSpPr txBox="1">
            <a:spLocks/>
          </p:cNvSpPr>
          <p:nvPr/>
        </p:nvSpPr>
        <p:spPr>
          <a:xfrm>
            <a:off x="2490709" y="4730396"/>
            <a:ext cx="23137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Data.Collection</a:t>
            </a:r>
            <a:endParaRPr lang="en-US" sz="16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82239FC-9548-4DD4-9B08-773F1EE1FB36}"/>
              </a:ext>
            </a:extLst>
          </p:cNvPr>
          <p:cNvSpPr txBox="1">
            <a:spLocks/>
          </p:cNvSpPr>
          <p:nvPr/>
        </p:nvSpPr>
        <p:spPr>
          <a:xfrm>
            <a:off x="2488693" y="5039192"/>
            <a:ext cx="2407583" cy="4134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at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mana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yimpan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</a:t>
            </a:r>
            <a:r>
              <a:rPr lang="en-US" sz="12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badi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us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B1A6A7-ED5A-23EB-E419-E9271AC07D76}"/>
              </a:ext>
            </a:extLst>
          </p:cNvPr>
          <p:cNvSpPr txBox="1"/>
          <p:nvPr/>
        </p:nvSpPr>
        <p:spPr>
          <a:xfrm>
            <a:off x="6982990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9" name="Snip Single Corner Rectangle 93">
            <a:extLst>
              <a:ext uri="{FF2B5EF4-FFF2-40B4-BE49-F238E27FC236}">
                <a16:creationId xmlns:a16="http://schemas.microsoft.com/office/drawing/2014/main" id="{63E3BC18-6E37-201A-518A-7E264E72F0B8}"/>
              </a:ext>
            </a:extLst>
          </p:cNvPr>
          <p:cNvSpPr/>
          <p:nvPr/>
        </p:nvSpPr>
        <p:spPr>
          <a:xfrm>
            <a:off x="7234396" y="1817967"/>
            <a:ext cx="770544" cy="770544"/>
          </a:xfrm>
          <a:prstGeom prst="snip1Rect">
            <a:avLst>
              <a:gd name="adj" fmla="val 2672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195FE92-FF86-EA94-0E28-6B772C99DFAC}"/>
              </a:ext>
            </a:extLst>
          </p:cNvPr>
          <p:cNvSpPr txBox="1">
            <a:spLocks/>
          </p:cNvSpPr>
          <p:nvPr/>
        </p:nvSpPr>
        <p:spPr>
          <a:xfrm>
            <a:off x="8232764" y="1840360"/>
            <a:ext cx="204261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ovel.Collection</a:t>
            </a:r>
            <a:endParaRPr lang="en-US" sz="1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3CFE0D1-C792-0D04-E3DF-6ECE201A3326}"/>
              </a:ext>
            </a:extLst>
          </p:cNvPr>
          <p:cNvGrpSpPr/>
          <p:nvPr/>
        </p:nvGrpSpPr>
        <p:grpSpPr>
          <a:xfrm>
            <a:off x="7415895" y="2012643"/>
            <a:ext cx="330646" cy="381192"/>
            <a:chOff x="896938" y="1943100"/>
            <a:chExt cx="249237" cy="287338"/>
          </a:xfrm>
          <a:solidFill>
            <a:schemeClr val="bg1"/>
          </a:solidFill>
          <a:effectLst/>
        </p:grpSpPr>
        <p:sp>
          <p:nvSpPr>
            <p:cNvPr id="25" name="Freeform 1088">
              <a:extLst>
                <a:ext uri="{FF2B5EF4-FFF2-40B4-BE49-F238E27FC236}">
                  <a16:creationId xmlns:a16="http://schemas.microsoft.com/office/drawing/2014/main" id="{FF5AD357-26B5-D81B-DE6E-5DD80D9528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089">
              <a:extLst>
                <a:ext uri="{FF2B5EF4-FFF2-40B4-BE49-F238E27FC236}">
                  <a16:creationId xmlns:a16="http://schemas.microsoft.com/office/drawing/2014/main" id="{99D864FE-C87F-BD04-67C5-9243FC24A4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30E2B58-BEDE-BDF6-D24F-80EA5911D528}"/>
              </a:ext>
            </a:extLst>
          </p:cNvPr>
          <p:cNvSpPr txBox="1">
            <a:spLocks/>
          </p:cNvSpPr>
          <p:nvPr/>
        </p:nvSpPr>
        <p:spPr>
          <a:xfrm>
            <a:off x="8230747" y="2149156"/>
            <a:ext cx="2407583" cy="4134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at</a:t>
            </a: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mana</a:t>
            </a: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yimpan</a:t>
            </a: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ta Novel</a:t>
            </a:r>
          </a:p>
        </p:txBody>
      </p:sp>
    </p:spTree>
    <p:extLst>
      <p:ext uri="{BB962C8B-B14F-4D97-AF65-F5344CB8AC3E}">
        <p14:creationId xmlns:p14="http://schemas.microsoft.com/office/powerpoint/2010/main" val="3620908143"/>
      </p:ext>
    </p:extLst>
  </p:cSld>
  <p:clrMapOvr>
    <a:masterClrMapping/>
  </p:clrMapOvr>
  <p:transition spd="slow">
    <p:cover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3115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C21CCCC-1A7B-7B1D-6516-37B4180DD4A1}"/>
              </a:ext>
            </a:extLst>
          </p:cNvPr>
          <p:cNvSpPr>
            <a:spLocks/>
          </p:cNvSpPr>
          <p:nvPr/>
        </p:nvSpPr>
        <p:spPr bwMode="auto">
          <a:xfrm flipH="1">
            <a:off x="555940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AABA08F-AD85-6FBF-2B7A-BC6CA58BAB5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76193" y="1567899"/>
            <a:ext cx="2228693" cy="3738149"/>
          </a:xfrm>
          <a:prstGeom prst="rect">
            <a:avLst/>
          </a:prstGeom>
          <a:gradFill flip="none" rotWithShape="1">
            <a:gsLst>
              <a:gs pos="23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Oval 7">
            <a:extLst>
              <a:ext uri="{FF2B5EF4-FFF2-40B4-BE49-F238E27FC236}">
                <a16:creationId xmlns:a16="http://schemas.microsoft.com/office/drawing/2014/main" id="{2AA222C0-0CE2-DB4B-F4E2-DF9AF5E3DFA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668281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5174624-DDDB-DFBE-85F9-F30D864DC8EE}"/>
              </a:ext>
            </a:extLst>
          </p:cNvPr>
          <p:cNvSpPr>
            <a:spLocks/>
          </p:cNvSpPr>
          <p:nvPr/>
        </p:nvSpPr>
        <p:spPr bwMode="auto">
          <a:xfrm flipH="1">
            <a:off x="4684068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Oval 7">
            <a:extLst>
              <a:ext uri="{FF2B5EF4-FFF2-40B4-BE49-F238E27FC236}">
                <a16:creationId xmlns:a16="http://schemas.microsoft.com/office/drawing/2014/main" id="{626180A3-296F-5197-BA0D-D890018B38A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815577" y="5397987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0DE8AAC-189F-B5FA-3A08-8177F1B7549C}"/>
              </a:ext>
            </a:extLst>
          </p:cNvPr>
          <p:cNvSpPr>
            <a:spLocks/>
          </p:cNvSpPr>
          <p:nvPr/>
        </p:nvSpPr>
        <p:spPr bwMode="auto">
          <a:xfrm flipH="1">
            <a:off x="8650504" y="1126774"/>
            <a:ext cx="2469200" cy="4604451"/>
          </a:xfrm>
          <a:custGeom>
            <a:avLst/>
            <a:gdLst>
              <a:gd name="T0" fmla="*/ 238 w 258"/>
              <a:gd name="T1" fmla="*/ 490 h 490"/>
              <a:gd name="T2" fmla="*/ 20 w 258"/>
              <a:gd name="T3" fmla="*/ 490 h 490"/>
              <a:gd name="T4" fmla="*/ 0 w 258"/>
              <a:gd name="T5" fmla="*/ 470 h 490"/>
              <a:gd name="T6" fmla="*/ 0 w 258"/>
              <a:gd name="T7" fmla="*/ 20 h 490"/>
              <a:gd name="T8" fmla="*/ 20 w 258"/>
              <a:gd name="T9" fmla="*/ 0 h 490"/>
              <a:gd name="T10" fmla="*/ 238 w 258"/>
              <a:gd name="T11" fmla="*/ 0 h 490"/>
              <a:gd name="T12" fmla="*/ 258 w 258"/>
              <a:gd name="T13" fmla="*/ 20 h 490"/>
              <a:gd name="T14" fmla="*/ 258 w 258"/>
              <a:gd name="T15" fmla="*/ 470 h 490"/>
              <a:gd name="T16" fmla="*/ 238 w 258"/>
              <a:gd name="T17" fmla="*/ 49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8" h="490">
                <a:moveTo>
                  <a:pt x="238" y="490"/>
                </a:moveTo>
                <a:cubicBezTo>
                  <a:pt x="20" y="490"/>
                  <a:pt x="20" y="490"/>
                  <a:pt x="20" y="490"/>
                </a:cubicBezTo>
                <a:cubicBezTo>
                  <a:pt x="9" y="490"/>
                  <a:pt x="0" y="481"/>
                  <a:pt x="0" y="47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49" y="0"/>
                  <a:pt x="258" y="9"/>
                  <a:pt x="258" y="20"/>
                </a:cubicBezTo>
                <a:cubicBezTo>
                  <a:pt x="258" y="470"/>
                  <a:pt x="258" y="470"/>
                  <a:pt x="258" y="470"/>
                </a:cubicBezTo>
                <a:cubicBezTo>
                  <a:pt x="258" y="481"/>
                  <a:pt x="249" y="490"/>
                  <a:pt x="238" y="490"/>
                </a:cubicBez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rgbClr val="B0F7F4"/>
              </a:gs>
              <a:gs pos="59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7">
            <a:extLst>
              <a:ext uri="{FF2B5EF4-FFF2-40B4-BE49-F238E27FC236}">
                <a16:creationId xmlns:a16="http://schemas.microsoft.com/office/drawing/2014/main" id="{B4E0E2DB-3E8D-EAF1-2AEC-E951A733DE5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762846" y="5386666"/>
            <a:ext cx="244515" cy="241298"/>
          </a:xfrm>
          <a:prstGeom prst="ellipse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AF0B7BC-C34A-01E2-DC0D-70ED7E36BAD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5000" t="15000" r="19751" b="12779"/>
          <a:stretch/>
        </p:blipFill>
        <p:spPr>
          <a:xfrm>
            <a:off x="8726605" y="1500604"/>
            <a:ext cx="2316998" cy="372791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2CE5D1C-2715-5CF2-005B-81B74874135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4814" t="14541" r="20014" b="12985"/>
          <a:stretch/>
        </p:blipFill>
        <p:spPr>
          <a:xfrm>
            <a:off x="4769221" y="1490373"/>
            <a:ext cx="2308226" cy="373814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083352B-908A-C753-A2F3-C040ED14C1C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4518" t="15000" r="20218" b="13000"/>
          <a:stretch/>
        </p:blipFill>
        <p:spPr>
          <a:xfrm>
            <a:off x="643136" y="1551952"/>
            <a:ext cx="2294803" cy="377578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180B28F-0C89-056E-2B1A-A101429B6D7F}"/>
              </a:ext>
            </a:extLst>
          </p:cNvPr>
          <p:cNvSpPr txBox="1"/>
          <p:nvPr/>
        </p:nvSpPr>
        <p:spPr>
          <a:xfrm>
            <a:off x="409872" y="6103947"/>
            <a:ext cx="2615268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tate Jika Erro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1A1233-3364-B7D0-B337-FA688FAEC8F1}"/>
              </a:ext>
            </a:extLst>
          </p:cNvPr>
          <p:cNvSpPr txBox="1"/>
          <p:nvPr/>
        </p:nvSpPr>
        <p:spPr>
          <a:xfrm>
            <a:off x="4373463" y="6094824"/>
            <a:ext cx="312874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tate Jika Load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6296E4-41A8-F909-A61C-85F7CF30AE77}"/>
              </a:ext>
            </a:extLst>
          </p:cNvPr>
          <p:cNvSpPr txBox="1"/>
          <p:nvPr/>
        </p:nvSpPr>
        <p:spPr>
          <a:xfrm>
            <a:off x="8457706" y="6094824"/>
            <a:ext cx="3099310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800" b="1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tate Jika </a:t>
            </a:r>
            <a:r>
              <a:rPr lang="en-US" sz="2800" b="1" dirty="0" err="1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erhasil</a:t>
            </a:r>
            <a:endParaRPr lang="en-US" sz="2800" b="1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DFC36C1-3964-ACFC-64FE-C28B8C4C08CE}"/>
              </a:ext>
            </a:extLst>
          </p:cNvPr>
          <p:cNvSpPr txBox="1"/>
          <p:nvPr/>
        </p:nvSpPr>
        <p:spPr>
          <a:xfrm>
            <a:off x="555940" y="195471"/>
            <a:ext cx="7994433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tate Management With Provider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376838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-1"/>
            <a:ext cx="12188891" cy="5643661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 flipH="1">
            <a:off x="550419" y="3396773"/>
            <a:ext cx="11367625" cy="2054313"/>
            <a:chOff x="550419" y="3396773"/>
            <a:chExt cx="11367625" cy="2054313"/>
          </a:xfrm>
        </p:grpSpPr>
        <p:sp>
          <p:nvSpPr>
            <p:cNvPr id="23" name="Oval 58"/>
            <p:cNvSpPr>
              <a:spLocks noChangeArrowheads="1"/>
            </p:cNvSpPr>
            <p:nvPr/>
          </p:nvSpPr>
          <p:spPr bwMode="auto">
            <a:xfrm>
              <a:off x="3392376" y="5184522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59"/>
            <p:cNvSpPr>
              <a:spLocks noChangeArrowheads="1"/>
            </p:cNvSpPr>
            <p:nvPr/>
          </p:nvSpPr>
          <p:spPr bwMode="auto">
            <a:xfrm>
              <a:off x="5251528" y="527537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4"/>
            <p:cNvSpPr>
              <a:spLocks noChangeArrowheads="1"/>
            </p:cNvSpPr>
            <p:nvPr/>
          </p:nvSpPr>
          <p:spPr bwMode="auto">
            <a:xfrm>
              <a:off x="4745126" y="3741159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6"/>
            <p:cNvSpPr>
              <a:spLocks noChangeArrowheads="1"/>
            </p:cNvSpPr>
            <p:nvPr/>
          </p:nvSpPr>
          <p:spPr bwMode="auto">
            <a:xfrm>
              <a:off x="550419" y="4656884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7"/>
            <p:cNvSpPr>
              <a:spLocks noChangeArrowheads="1"/>
            </p:cNvSpPr>
            <p:nvPr/>
          </p:nvSpPr>
          <p:spPr bwMode="auto">
            <a:xfrm>
              <a:off x="1206347" y="502484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1"/>
            <p:cNvSpPr>
              <a:spLocks noChangeArrowheads="1"/>
            </p:cNvSpPr>
            <p:nvPr/>
          </p:nvSpPr>
          <p:spPr bwMode="auto">
            <a:xfrm>
              <a:off x="4525570" y="506696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2"/>
            <p:cNvSpPr>
              <a:spLocks noChangeArrowheads="1"/>
            </p:cNvSpPr>
            <p:nvPr/>
          </p:nvSpPr>
          <p:spPr bwMode="auto">
            <a:xfrm>
              <a:off x="6475176" y="5044751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3"/>
            <p:cNvSpPr>
              <a:spLocks noChangeArrowheads="1"/>
            </p:cNvSpPr>
            <p:nvPr/>
          </p:nvSpPr>
          <p:spPr bwMode="auto">
            <a:xfrm>
              <a:off x="2630625" y="5069082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4"/>
            <p:cNvSpPr>
              <a:spLocks noChangeArrowheads="1"/>
            </p:cNvSpPr>
            <p:nvPr/>
          </p:nvSpPr>
          <p:spPr bwMode="auto">
            <a:xfrm>
              <a:off x="2936214" y="4258356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5"/>
            <p:cNvSpPr>
              <a:spLocks noChangeArrowheads="1"/>
            </p:cNvSpPr>
            <p:nvPr/>
          </p:nvSpPr>
          <p:spPr bwMode="auto">
            <a:xfrm>
              <a:off x="1948349" y="5378442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9"/>
            <p:cNvSpPr>
              <a:spLocks noChangeArrowheads="1"/>
            </p:cNvSpPr>
            <p:nvPr/>
          </p:nvSpPr>
          <p:spPr bwMode="auto">
            <a:xfrm>
              <a:off x="7717986" y="4134900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Rectangle 48"/>
          <p:cNvSpPr>
            <a:spLocks noChangeArrowheads="1"/>
          </p:cNvSpPr>
          <p:nvPr/>
        </p:nvSpPr>
        <p:spPr bwMode="auto">
          <a:xfrm>
            <a:off x="3110" y="5643660"/>
            <a:ext cx="12188890" cy="1214340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0" name="Group 109"/>
          <p:cNvGrpSpPr/>
          <p:nvPr/>
        </p:nvGrpSpPr>
        <p:grpSpPr>
          <a:xfrm>
            <a:off x="-1328128" y="4154461"/>
            <a:ext cx="7405903" cy="2764502"/>
            <a:chOff x="-3347622" y="4154461"/>
            <a:chExt cx="7405903" cy="2764502"/>
          </a:xfrm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-1530125" y="4869259"/>
              <a:ext cx="1559618" cy="774401"/>
            </a:xfrm>
            <a:custGeom>
              <a:avLst/>
              <a:gdLst>
                <a:gd name="T0" fmla="*/ 0 w 1442"/>
                <a:gd name="T1" fmla="*/ 716 h 716"/>
                <a:gd name="T2" fmla="*/ 1442 w 1442"/>
                <a:gd name="T3" fmla="*/ 716 h 716"/>
                <a:gd name="T4" fmla="*/ 725 w 1442"/>
                <a:gd name="T5" fmla="*/ 0 h 716"/>
                <a:gd name="T6" fmla="*/ 0 w 1442"/>
                <a:gd name="T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2" h="716">
                  <a:moveTo>
                    <a:pt x="0" y="716"/>
                  </a:moveTo>
                  <a:lnTo>
                    <a:pt x="1442" y="716"/>
                  </a:lnTo>
                  <a:lnTo>
                    <a:pt x="725" y="0"/>
                  </a:lnTo>
                  <a:lnTo>
                    <a:pt x="0" y="716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-3347622" y="4154461"/>
              <a:ext cx="2995886" cy="1489199"/>
            </a:xfrm>
            <a:custGeom>
              <a:avLst/>
              <a:gdLst>
                <a:gd name="T0" fmla="*/ 0 w 2227"/>
                <a:gd name="T1" fmla="*/ 1107 h 1107"/>
                <a:gd name="T2" fmla="*/ 2227 w 2227"/>
                <a:gd name="T3" fmla="*/ 1107 h 1107"/>
                <a:gd name="T4" fmla="*/ 1121 w 2227"/>
                <a:gd name="T5" fmla="*/ 0 h 1107"/>
                <a:gd name="T6" fmla="*/ 0 w 2227"/>
                <a:gd name="T7" fmla="*/ 1107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27" h="1107">
                  <a:moveTo>
                    <a:pt x="0" y="1107"/>
                  </a:moveTo>
                  <a:lnTo>
                    <a:pt x="2227" y="1107"/>
                  </a:lnTo>
                  <a:lnTo>
                    <a:pt x="1121" y="0"/>
                  </a:lnTo>
                  <a:lnTo>
                    <a:pt x="0" y="1107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2346882" y="5061164"/>
              <a:ext cx="1173064" cy="582496"/>
            </a:xfrm>
            <a:custGeom>
              <a:avLst/>
              <a:gdLst>
                <a:gd name="T0" fmla="*/ 0 w 872"/>
                <a:gd name="T1" fmla="*/ 433 h 433"/>
                <a:gd name="T2" fmla="*/ 872 w 872"/>
                <a:gd name="T3" fmla="*/ 433 h 433"/>
                <a:gd name="T4" fmla="*/ 440 w 872"/>
                <a:gd name="T5" fmla="*/ 0 h 433"/>
                <a:gd name="T6" fmla="*/ 0 w 872"/>
                <a:gd name="T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2" h="433">
                  <a:moveTo>
                    <a:pt x="0" y="433"/>
                  </a:moveTo>
                  <a:lnTo>
                    <a:pt x="872" y="433"/>
                  </a:lnTo>
                  <a:lnTo>
                    <a:pt x="440" y="0"/>
                  </a:lnTo>
                  <a:lnTo>
                    <a:pt x="0" y="433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2194531" y="5389407"/>
              <a:ext cx="511197" cy="254253"/>
            </a:xfrm>
            <a:custGeom>
              <a:avLst/>
              <a:gdLst>
                <a:gd name="T0" fmla="*/ 0 w 380"/>
                <a:gd name="T1" fmla="*/ 189 h 189"/>
                <a:gd name="T2" fmla="*/ 380 w 380"/>
                <a:gd name="T3" fmla="*/ 189 h 189"/>
                <a:gd name="T4" fmla="*/ 191 w 380"/>
                <a:gd name="T5" fmla="*/ 0 h 189"/>
                <a:gd name="T6" fmla="*/ 0 w 380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0" h="189">
                  <a:moveTo>
                    <a:pt x="0" y="189"/>
                  </a:moveTo>
                  <a:lnTo>
                    <a:pt x="380" y="189"/>
                  </a:lnTo>
                  <a:lnTo>
                    <a:pt x="191" y="0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3243493" y="5240024"/>
              <a:ext cx="814788" cy="403636"/>
            </a:xfrm>
            <a:custGeom>
              <a:avLst/>
              <a:gdLst>
                <a:gd name="T0" fmla="*/ 0 w 759"/>
                <a:gd name="T1" fmla="*/ 376 h 376"/>
                <a:gd name="T2" fmla="*/ 759 w 759"/>
                <a:gd name="T3" fmla="*/ 376 h 376"/>
                <a:gd name="T4" fmla="*/ 381 w 759"/>
                <a:gd name="T5" fmla="*/ 0 h 376"/>
                <a:gd name="T6" fmla="*/ 0 w 759"/>
                <a:gd name="T7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9" h="376">
                  <a:moveTo>
                    <a:pt x="0" y="376"/>
                  </a:moveTo>
                  <a:lnTo>
                    <a:pt x="759" y="376"/>
                  </a:lnTo>
                  <a:lnTo>
                    <a:pt x="381" y="0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9"/>
            <p:cNvSpPr>
              <a:spLocks/>
            </p:cNvSpPr>
            <p:nvPr/>
          </p:nvSpPr>
          <p:spPr bwMode="auto">
            <a:xfrm>
              <a:off x="-1530125" y="5643661"/>
              <a:ext cx="1672437" cy="832160"/>
            </a:xfrm>
            <a:custGeom>
              <a:avLst/>
              <a:gdLst>
                <a:gd name="T0" fmla="*/ 0 w 1236"/>
                <a:gd name="T1" fmla="*/ 0 h 615"/>
                <a:gd name="T2" fmla="*/ 1236 w 1236"/>
                <a:gd name="T3" fmla="*/ 0 h 615"/>
                <a:gd name="T4" fmla="*/ 621 w 1236"/>
                <a:gd name="T5" fmla="*/ 615 h 615"/>
                <a:gd name="T6" fmla="*/ 0 w 1236"/>
                <a:gd name="T7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6" h="615">
                  <a:moveTo>
                    <a:pt x="0" y="0"/>
                  </a:moveTo>
                  <a:lnTo>
                    <a:pt x="1236" y="0"/>
                  </a:lnTo>
                  <a:lnTo>
                    <a:pt x="621" y="6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10000"/>
                  </a:srgbClr>
                </a:gs>
                <a:gs pos="21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-3233814" y="5643660"/>
              <a:ext cx="2565404" cy="1275303"/>
            </a:xfrm>
            <a:custGeom>
              <a:avLst/>
              <a:gdLst>
                <a:gd name="T0" fmla="*/ 0 w 1907"/>
                <a:gd name="T1" fmla="*/ 0 h 948"/>
                <a:gd name="T2" fmla="*/ 1907 w 1907"/>
                <a:gd name="T3" fmla="*/ 0 h 948"/>
                <a:gd name="T4" fmla="*/ 962 w 1907"/>
                <a:gd name="T5" fmla="*/ 948 h 948"/>
                <a:gd name="T6" fmla="*/ 0 w 1907"/>
                <a:gd name="T7" fmla="*/ 0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7" h="948">
                  <a:moveTo>
                    <a:pt x="0" y="0"/>
                  </a:moveTo>
                  <a:lnTo>
                    <a:pt x="1907" y="0"/>
                  </a:lnTo>
                  <a:lnTo>
                    <a:pt x="962" y="948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1"/>
            <p:cNvSpPr>
              <a:spLocks/>
            </p:cNvSpPr>
            <p:nvPr/>
          </p:nvSpPr>
          <p:spPr bwMode="auto">
            <a:xfrm>
              <a:off x="2360669" y="5643660"/>
              <a:ext cx="1004907" cy="499090"/>
            </a:xfrm>
            <a:custGeom>
              <a:avLst/>
              <a:gdLst>
                <a:gd name="T0" fmla="*/ 0 w 747"/>
                <a:gd name="T1" fmla="*/ 0 h 371"/>
                <a:gd name="T2" fmla="*/ 747 w 747"/>
                <a:gd name="T3" fmla="*/ 0 h 371"/>
                <a:gd name="T4" fmla="*/ 376 w 747"/>
                <a:gd name="T5" fmla="*/ 371 h 371"/>
                <a:gd name="T6" fmla="*/ 0 w 747"/>
                <a:gd name="T7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7" h="371">
                  <a:moveTo>
                    <a:pt x="0" y="0"/>
                  </a:moveTo>
                  <a:lnTo>
                    <a:pt x="747" y="0"/>
                  </a:lnTo>
                  <a:lnTo>
                    <a:pt x="376" y="371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6"/>
            <p:cNvSpPr>
              <a:spLocks/>
            </p:cNvSpPr>
            <p:nvPr/>
          </p:nvSpPr>
          <p:spPr bwMode="auto">
            <a:xfrm>
              <a:off x="3346538" y="5643661"/>
              <a:ext cx="588915" cy="292570"/>
            </a:xfrm>
            <a:custGeom>
              <a:avLst/>
              <a:gdLst>
                <a:gd name="T0" fmla="*/ 0 w 624"/>
                <a:gd name="T1" fmla="*/ 0 h 310"/>
                <a:gd name="T2" fmla="*/ 624 w 624"/>
                <a:gd name="T3" fmla="*/ 0 h 310"/>
                <a:gd name="T4" fmla="*/ 315 w 624"/>
                <a:gd name="T5" fmla="*/ 310 h 310"/>
                <a:gd name="T6" fmla="*/ 0 w 624"/>
                <a:gd name="T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4" h="310">
                  <a:moveTo>
                    <a:pt x="0" y="0"/>
                  </a:moveTo>
                  <a:lnTo>
                    <a:pt x="624" y="0"/>
                  </a:lnTo>
                  <a:lnTo>
                    <a:pt x="315" y="31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006195" y="5478193"/>
              <a:ext cx="333624" cy="165467"/>
            </a:xfrm>
            <a:custGeom>
              <a:avLst/>
              <a:gdLst>
                <a:gd name="T0" fmla="*/ 0 w 248"/>
                <a:gd name="T1" fmla="*/ 123 h 123"/>
                <a:gd name="T2" fmla="*/ 248 w 248"/>
                <a:gd name="T3" fmla="*/ 123 h 123"/>
                <a:gd name="T4" fmla="*/ 125 w 248"/>
                <a:gd name="T5" fmla="*/ 0 h 123"/>
                <a:gd name="T6" fmla="*/ 0 w 248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8" h="123">
                  <a:moveTo>
                    <a:pt x="0" y="123"/>
                  </a:moveTo>
                  <a:lnTo>
                    <a:pt x="248" y="123"/>
                  </a:lnTo>
                  <a:lnTo>
                    <a:pt x="125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4"/>
          <p:cNvGrpSpPr>
            <a:grpSpLocks noChangeAspect="1"/>
          </p:cNvGrpSpPr>
          <p:nvPr/>
        </p:nvGrpSpPr>
        <p:grpSpPr bwMode="auto">
          <a:xfrm flipH="1">
            <a:off x="151147" y="597601"/>
            <a:ext cx="2921862" cy="5521180"/>
            <a:chOff x="3532" y="1579"/>
            <a:chExt cx="616" cy="1164"/>
          </a:xfrm>
        </p:grpSpPr>
        <p:sp>
          <p:nvSpPr>
            <p:cNvPr id="93" name="Freeform 5"/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6"/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7"/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"/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0" name="Freeform 12"/>
          <p:cNvSpPr>
            <a:spLocks/>
          </p:cNvSpPr>
          <p:nvPr/>
        </p:nvSpPr>
        <p:spPr bwMode="auto">
          <a:xfrm>
            <a:off x="1414066" y="6235492"/>
            <a:ext cx="2921862" cy="1009901"/>
          </a:xfrm>
          <a:custGeom>
            <a:avLst/>
            <a:gdLst>
              <a:gd name="T0" fmla="*/ 258 w 258"/>
              <a:gd name="T1" fmla="*/ 84 h 84"/>
              <a:gd name="T2" fmla="*/ 0 w 258"/>
              <a:gd name="T3" fmla="*/ 84 h 84"/>
              <a:gd name="T4" fmla="*/ 0 w 258"/>
              <a:gd name="T5" fmla="*/ 21 h 84"/>
              <a:gd name="T6" fmla="*/ 20 w 258"/>
              <a:gd name="T7" fmla="*/ 0 h 84"/>
              <a:gd name="T8" fmla="*/ 237 w 258"/>
              <a:gd name="T9" fmla="*/ 0 h 84"/>
              <a:gd name="T10" fmla="*/ 258 w 258"/>
              <a:gd name="T11" fmla="*/ 21 h 84"/>
              <a:gd name="T12" fmla="*/ 258 w 258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8" h="84">
                <a:moveTo>
                  <a:pt x="258" y="84"/>
                </a:moveTo>
                <a:cubicBezTo>
                  <a:pt x="0" y="84"/>
                  <a:pt x="0" y="84"/>
                  <a:pt x="0" y="84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0" y="0"/>
                </a:cubicBezTo>
                <a:cubicBezTo>
                  <a:pt x="237" y="0"/>
                  <a:pt x="237" y="0"/>
                  <a:pt x="237" y="0"/>
                </a:cubicBezTo>
                <a:cubicBezTo>
                  <a:pt x="249" y="0"/>
                  <a:pt x="258" y="9"/>
                  <a:pt x="258" y="21"/>
                </a:cubicBezTo>
                <a:lnTo>
                  <a:pt x="258" y="84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1" name="Group 110"/>
          <p:cNvGrpSpPr/>
          <p:nvPr/>
        </p:nvGrpSpPr>
        <p:grpSpPr>
          <a:xfrm>
            <a:off x="3289957" y="2228282"/>
            <a:ext cx="769339" cy="769339"/>
            <a:chOff x="1119850" y="3102137"/>
            <a:chExt cx="798223" cy="798223"/>
          </a:xfrm>
        </p:grpSpPr>
        <p:sp>
          <p:nvSpPr>
            <p:cNvPr id="112" name="Rectangle 111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3252193" y="3666917"/>
            <a:ext cx="769339" cy="769339"/>
            <a:chOff x="1119850" y="3102137"/>
            <a:chExt cx="798223" cy="798223"/>
          </a:xfrm>
        </p:grpSpPr>
        <p:sp>
          <p:nvSpPr>
            <p:cNvPr id="115" name="Rectangle 114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4448584" y="2110081"/>
            <a:ext cx="4175512" cy="974747"/>
            <a:chOff x="1006796" y="2065235"/>
            <a:chExt cx="2390233" cy="974747"/>
          </a:xfrm>
        </p:grpSpPr>
        <p:sp>
          <p:nvSpPr>
            <p:cNvPr id="126" name="Text Placeholder 2"/>
            <p:cNvSpPr txBox="1">
              <a:spLocks/>
            </p:cNvSpPr>
            <p:nvPr/>
          </p:nvSpPr>
          <p:spPr>
            <a:xfrm>
              <a:off x="1006797" y="2408527"/>
              <a:ext cx="2390232" cy="6314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ada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alam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ini user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pat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lihat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berbaga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ovel yang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rsedia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engan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judul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n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ambar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velnya</a:t>
              </a:r>
              <a:endPara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1006796" y="2065235"/>
              <a:ext cx="1147494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HomePage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3506535" y="3864369"/>
            <a:ext cx="260656" cy="374434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38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4410821" y="3527287"/>
            <a:ext cx="4033860" cy="756739"/>
            <a:chOff x="1006796" y="2065235"/>
            <a:chExt cx="4535675" cy="756739"/>
          </a:xfrm>
        </p:grpSpPr>
        <p:sp>
          <p:nvSpPr>
            <p:cNvPr id="143" name="Text Placeholder 2"/>
            <p:cNvSpPr txBox="1">
              <a:spLocks/>
            </p:cNvSpPr>
            <p:nvPr/>
          </p:nvSpPr>
          <p:spPr>
            <a:xfrm>
              <a:off x="1006796" y="2408527"/>
              <a:ext cx="4535675" cy="41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tika di tap user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k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angsung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g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e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alaman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suai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engan novel yang </a:t>
              </a:r>
              <a:r>
                <a:rPr lang="en-US" dirty="0" err="1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pilih</a:t>
              </a: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oleh user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006796" y="2065235"/>
              <a:ext cx="1120500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DetailView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7DAAB64F-7882-D357-516A-E544A25C2E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000" t="15000" r="19751" b="12779"/>
          <a:stretch/>
        </p:blipFill>
        <p:spPr>
          <a:xfrm>
            <a:off x="286910" y="1033434"/>
            <a:ext cx="2665886" cy="451140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7B17B30-EF2B-FED2-4A6E-BE25D6EB0413}"/>
              </a:ext>
            </a:extLst>
          </p:cNvPr>
          <p:cNvGrpSpPr/>
          <p:nvPr/>
        </p:nvGrpSpPr>
        <p:grpSpPr>
          <a:xfrm>
            <a:off x="3498770" y="2453373"/>
            <a:ext cx="285750" cy="287338"/>
            <a:chOff x="2025650" y="4786313"/>
            <a:chExt cx="285750" cy="287338"/>
          </a:xfrm>
          <a:solidFill>
            <a:srgbClr val="125680"/>
          </a:solidFill>
          <a:effectLst/>
        </p:grpSpPr>
        <p:sp>
          <p:nvSpPr>
            <p:cNvPr id="4" name="Freeform 565">
              <a:extLst>
                <a:ext uri="{FF2B5EF4-FFF2-40B4-BE49-F238E27FC236}">
                  <a16:creationId xmlns:a16="http://schemas.microsoft.com/office/drawing/2014/main" id="{44F263B0-3152-45E6-9BFC-07019FD00C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566">
              <a:extLst>
                <a:ext uri="{FF2B5EF4-FFF2-40B4-BE49-F238E27FC236}">
                  <a16:creationId xmlns:a16="http://schemas.microsoft.com/office/drawing/2014/main" id="{B9678FA3-076A-3F3A-6163-E24C22C0F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Group 4">
            <a:extLst>
              <a:ext uri="{FF2B5EF4-FFF2-40B4-BE49-F238E27FC236}">
                <a16:creationId xmlns:a16="http://schemas.microsoft.com/office/drawing/2014/main" id="{C4291768-623F-5A8D-CCD3-D2574C28CB67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8956709" y="491561"/>
            <a:ext cx="2921862" cy="5521180"/>
            <a:chOff x="3532" y="1579"/>
            <a:chExt cx="616" cy="1164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38F29EC1-4F85-993D-486E-AD78EBA37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64778B85-D0A3-7000-E0E3-EA48D363E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DC212867-746B-75A3-A3B8-46BB4C621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FA48681E-4E82-3CD2-1273-92C8816A4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BF42ED40-8AA1-7097-AE72-0F815EAE4A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5107" t="15069" r="19930" b="12326"/>
          <a:stretch/>
        </p:blipFill>
        <p:spPr>
          <a:xfrm>
            <a:off x="9091281" y="910553"/>
            <a:ext cx="2711334" cy="4528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9859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29</TotalTime>
  <Words>418</Words>
  <Application>Microsoft Office PowerPoint</Application>
  <PresentationFormat>Widescreen</PresentationFormat>
  <Paragraphs>71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-apple-system</vt:lpstr>
      <vt:lpstr>Arial</vt:lpstr>
      <vt:lpstr>Calibri</vt:lpstr>
      <vt:lpstr>Calibri Light</vt:lpstr>
      <vt:lpstr>Segoe UI</vt:lpstr>
      <vt:lpstr>Segoe UI Semibold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uzy Lukman</dc:creator>
  <cp:lastModifiedBy>arya fajar</cp:lastModifiedBy>
  <cp:revision>51</cp:revision>
  <dcterms:created xsi:type="dcterms:W3CDTF">2017-03-29T09:23:02Z</dcterms:created>
  <dcterms:modified xsi:type="dcterms:W3CDTF">2022-11-07T10:12:56Z</dcterms:modified>
</cp:coreProperties>
</file>